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2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3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34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41.xml" ContentType="application/vnd.openxmlformats-officedocument.presentationml.tags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4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6"/>
  </p:notesMasterIdLst>
  <p:sldIdLst>
    <p:sldId id="1428" r:id="rId2"/>
    <p:sldId id="1551" r:id="rId3"/>
    <p:sldId id="1552" r:id="rId4"/>
    <p:sldId id="1925" r:id="rId5"/>
    <p:sldId id="1922" r:id="rId6"/>
    <p:sldId id="1924" r:id="rId7"/>
    <p:sldId id="1961" r:id="rId8"/>
    <p:sldId id="1993" r:id="rId9"/>
    <p:sldId id="2029" r:id="rId10"/>
    <p:sldId id="2080" r:id="rId11"/>
    <p:sldId id="1945" r:id="rId12"/>
    <p:sldId id="1962" r:id="rId13"/>
    <p:sldId id="1994" r:id="rId14"/>
    <p:sldId id="1996" r:id="rId15"/>
    <p:sldId id="2030" r:id="rId16"/>
    <p:sldId id="2047" r:id="rId17"/>
    <p:sldId id="2064" r:id="rId18"/>
    <p:sldId id="2065" r:id="rId19"/>
    <p:sldId id="2066" r:id="rId20"/>
    <p:sldId id="2067" r:id="rId21"/>
    <p:sldId id="2068" r:id="rId22"/>
    <p:sldId id="2069" r:id="rId23"/>
    <p:sldId id="2070" r:id="rId24"/>
    <p:sldId id="2071" r:id="rId25"/>
    <p:sldId id="2072" r:id="rId26"/>
    <p:sldId id="2073" r:id="rId27"/>
    <p:sldId id="2074" r:id="rId28"/>
    <p:sldId id="2075" r:id="rId29"/>
    <p:sldId id="2076" r:id="rId30"/>
    <p:sldId id="2077" r:id="rId31"/>
    <p:sldId id="2078" r:id="rId32"/>
    <p:sldId id="1942" r:id="rId33"/>
    <p:sldId id="1474" r:id="rId34"/>
    <p:sldId id="1481" r:id="rId35"/>
    <p:sldId id="1482" r:id="rId36"/>
    <p:sldId id="1475" r:id="rId37"/>
    <p:sldId id="1483" r:id="rId38"/>
    <p:sldId id="1923" r:id="rId39"/>
    <p:sldId id="1476" r:id="rId40"/>
    <p:sldId id="1523" r:id="rId41"/>
    <p:sldId id="1524" r:id="rId42"/>
    <p:sldId id="1595" r:id="rId43"/>
    <p:sldId id="1639" r:id="rId44"/>
    <p:sldId id="1802" r:id="rId45"/>
    <p:sldId id="1829" r:id="rId46"/>
    <p:sldId id="1823" r:id="rId47"/>
    <p:sldId id="1845" r:id="rId48"/>
    <p:sldId id="1864" r:id="rId49"/>
    <p:sldId id="1866" r:id="rId50"/>
    <p:sldId id="1886" r:id="rId51"/>
    <p:sldId id="1528" r:id="rId52"/>
    <p:sldId id="1530" r:id="rId53"/>
    <p:sldId id="1571" r:id="rId54"/>
    <p:sldId id="1572" r:id="rId55"/>
    <p:sldId id="1596" r:id="rId56"/>
    <p:sldId id="1615" r:id="rId57"/>
    <p:sldId id="1617" r:id="rId58"/>
    <p:sldId id="1641" r:id="rId59"/>
    <p:sldId id="1784" r:id="rId60"/>
    <p:sldId id="1804" r:id="rId61"/>
    <p:sldId id="1888" r:id="rId62"/>
    <p:sldId id="1907" r:id="rId63"/>
    <p:sldId id="1592" r:id="rId64"/>
    <p:sldId id="1593" r:id="rId65"/>
  </p:sldIdLst>
  <p:sldSz cx="12192000" cy="6858000"/>
  <p:notesSz cx="6858000" cy="9144000"/>
  <p:custDataLst>
    <p:tags r:id="rId67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0000FF"/>
    <a:srgbClr val="FCE34E"/>
    <a:srgbClr val="FFFF00"/>
    <a:srgbClr val="E4F828"/>
    <a:srgbClr val="000000"/>
    <a:srgbClr val="00FF00"/>
    <a:srgbClr val="FF9966"/>
    <a:srgbClr val="FF9933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61" autoAdjust="0"/>
    <p:restoredTop sz="96400" autoAdjust="0"/>
  </p:normalViewPr>
  <p:slideViewPr>
    <p:cSldViewPr snapToGrid="0">
      <p:cViewPr>
        <p:scale>
          <a:sx n="100" d="100"/>
          <a:sy n="100" d="100"/>
        </p:scale>
        <p:origin x="1158" y="342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commentAuthors" Target="commentAuthors.xml"/><Relationship Id="rId7" Type="http://schemas.openxmlformats.org/officeDocument/2006/relationships/slide" Target="slides/slide6.xml"/><Relationship Id="rId71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00259161526445E-2"/>
          <c:y val="4.7634439213742094E-2"/>
          <c:w val="0.94059218467024752"/>
          <c:h val="0.745772378749616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36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CV$1</c:f>
              <c:strCache>
                <c:ptCount val="99"/>
                <c:pt idx="0">
                  <c:v>27.4.–3.5.</c:v>
                </c:pt>
                <c:pt idx="1">
                  <c:v>4.5.–10.5.</c:v>
                </c:pt>
                <c:pt idx="2">
                  <c:v>11.5.–17.5.</c:v>
                </c:pt>
                <c:pt idx="3">
                  <c:v>18.5.–24.5.</c:v>
                </c:pt>
                <c:pt idx="4">
                  <c:v>25.5.–31.5.</c:v>
                </c:pt>
                <c:pt idx="5">
                  <c:v>1.6.–7.6.</c:v>
                </c:pt>
                <c:pt idx="6">
                  <c:v>8.6.–14.6.</c:v>
                </c:pt>
                <c:pt idx="7">
                  <c:v>15.6.–21.6.</c:v>
                </c:pt>
                <c:pt idx="8">
                  <c:v>22.6.–28.6.</c:v>
                </c:pt>
                <c:pt idx="9">
                  <c:v>29.6.–5.7.</c:v>
                </c:pt>
                <c:pt idx="10">
                  <c:v>6.7.–12.7.</c:v>
                </c:pt>
                <c:pt idx="11">
                  <c:v>13.7.–19.7.</c:v>
                </c:pt>
                <c:pt idx="12">
                  <c:v>20.7.–26.7.</c:v>
                </c:pt>
                <c:pt idx="13">
                  <c:v>27.7.–2.8.</c:v>
                </c:pt>
                <c:pt idx="14">
                  <c:v>3.8.–9.8.</c:v>
                </c:pt>
                <c:pt idx="15">
                  <c:v>10.8.–16.8.</c:v>
                </c:pt>
                <c:pt idx="16">
                  <c:v>17.8.–23.8.</c:v>
                </c:pt>
                <c:pt idx="17">
                  <c:v>24.8.–30.8.</c:v>
                </c:pt>
                <c:pt idx="18">
                  <c:v>31.8.–6.9.</c:v>
                </c:pt>
                <c:pt idx="19">
                  <c:v>7.9.–13.9.</c:v>
                </c:pt>
                <c:pt idx="20">
                  <c:v>14.9.–20.9.</c:v>
                </c:pt>
                <c:pt idx="21">
                  <c:v>21.9.–27.9.</c:v>
                </c:pt>
                <c:pt idx="22">
                  <c:v>28.9.–4.10.</c:v>
                </c:pt>
                <c:pt idx="23">
                  <c:v>5.10.–11.10.</c:v>
                </c:pt>
                <c:pt idx="24">
                  <c:v>12.10.–18.10.</c:v>
                </c:pt>
                <c:pt idx="25">
                  <c:v>19.10.–25.10.</c:v>
                </c:pt>
                <c:pt idx="26">
                  <c:v>26.10.–1.11.</c:v>
                </c:pt>
                <c:pt idx="27">
                  <c:v>2.11.–8.11.</c:v>
                </c:pt>
                <c:pt idx="28">
                  <c:v>9.11.–15.11.</c:v>
                </c:pt>
                <c:pt idx="29">
                  <c:v>16.11.–22.11.</c:v>
                </c:pt>
                <c:pt idx="30">
                  <c:v>23.11.–29.11.</c:v>
                </c:pt>
                <c:pt idx="31">
                  <c:v>30.11.–6.12.</c:v>
                </c:pt>
                <c:pt idx="32">
                  <c:v>7.12.–13.12.</c:v>
                </c:pt>
                <c:pt idx="33">
                  <c:v>14.12.–20.12.</c:v>
                </c:pt>
                <c:pt idx="34">
                  <c:v>21.12.–27.12.</c:v>
                </c:pt>
                <c:pt idx="35">
                  <c:v>28.12.–3.1.</c:v>
                </c:pt>
                <c:pt idx="36">
                  <c:v>4.1.–10.1.</c:v>
                </c:pt>
                <c:pt idx="37">
                  <c:v>11.1.–17.1.</c:v>
                </c:pt>
                <c:pt idx="38">
                  <c:v>18.1.–24.1.</c:v>
                </c:pt>
                <c:pt idx="39">
                  <c:v>25.1.–31.1.</c:v>
                </c:pt>
                <c:pt idx="40">
                  <c:v>1.2.–7.2.</c:v>
                </c:pt>
                <c:pt idx="41">
                  <c:v>8.2.–14.2.</c:v>
                </c:pt>
                <c:pt idx="42">
                  <c:v>15.2.–21.2.</c:v>
                </c:pt>
                <c:pt idx="43">
                  <c:v>22.2.–28.2.</c:v>
                </c:pt>
                <c:pt idx="44">
                  <c:v>1.3.–7.3.</c:v>
                </c:pt>
                <c:pt idx="45">
                  <c:v>8.3.–14.3.</c:v>
                </c:pt>
                <c:pt idx="46">
                  <c:v>15.3.–21.3.</c:v>
                </c:pt>
                <c:pt idx="47">
                  <c:v>22.3.–28.3.</c:v>
                </c:pt>
                <c:pt idx="48">
                  <c:v>29.3.–4.4.</c:v>
                </c:pt>
                <c:pt idx="49">
                  <c:v>5.4.–11.4.</c:v>
                </c:pt>
                <c:pt idx="50">
                  <c:v>12.4.–18.4.</c:v>
                </c:pt>
                <c:pt idx="51">
                  <c:v>19.4.–25.4.</c:v>
                </c:pt>
                <c:pt idx="52">
                  <c:v>26.4.–2.5.</c:v>
                </c:pt>
                <c:pt idx="53">
                  <c:v>3.5.–9.5.</c:v>
                </c:pt>
                <c:pt idx="54">
                  <c:v>10.5.–16.5.</c:v>
                </c:pt>
                <c:pt idx="55">
                  <c:v>17.5.–23.5.</c:v>
                </c:pt>
                <c:pt idx="56">
                  <c:v>24.5.–30.5.</c:v>
                </c:pt>
                <c:pt idx="57">
                  <c:v>31.5.–6.6.</c:v>
                </c:pt>
                <c:pt idx="58">
                  <c:v>7.6.–13.6.</c:v>
                </c:pt>
                <c:pt idx="59">
                  <c:v>14.6.–20.6.</c:v>
                </c:pt>
                <c:pt idx="60">
                  <c:v>21.6.–27.6.</c:v>
                </c:pt>
                <c:pt idx="61">
                  <c:v>28.6.–4.7.</c:v>
                </c:pt>
                <c:pt idx="62">
                  <c:v>5.7.–11.7.</c:v>
                </c:pt>
                <c:pt idx="63">
                  <c:v>12.7.–18.7.</c:v>
                </c:pt>
                <c:pt idx="64">
                  <c:v>19.7.–25.7.</c:v>
                </c:pt>
                <c:pt idx="65">
                  <c:v>26.7.–1.8.</c:v>
                </c:pt>
                <c:pt idx="66">
                  <c:v>2.8.–8.8.</c:v>
                </c:pt>
                <c:pt idx="67">
                  <c:v>9.8.–15.8.</c:v>
                </c:pt>
                <c:pt idx="68">
                  <c:v>16.8.–22.8.</c:v>
                </c:pt>
                <c:pt idx="69">
                  <c:v>23.8.–29.8.</c:v>
                </c:pt>
                <c:pt idx="70">
                  <c:v>30.8.–5.9.</c:v>
                </c:pt>
                <c:pt idx="71">
                  <c:v>6.9.–12.9.</c:v>
                </c:pt>
                <c:pt idx="72">
                  <c:v>13.9.–19.9.</c:v>
                </c:pt>
                <c:pt idx="73">
                  <c:v>20.9.–26.9.</c:v>
                </c:pt>
                <c:pt idx="74">
                  <c:v>27.9.–3.10.</c:v>
                </c:pt>
                <c:pt idx="75">
                  <c:v>4.10.–10.10.</c:v>
                </c:pt>
                <c:pt idx="76">
                  <c:v>11.10.–17.10.</c:v>
                </c:pt>
                <c:pt idx="77">
                  <c:v>18.10.–24.10.</c:v>
                </c:pt>
                <c:pt idx="78">
                  <c:v>25.10.–31.10.</c:v>
                </c:pt>
                <c:pt idx="79">
                  <c:v>1.11.–7.11.</c:v>
                </c:pt>
                <c:pt idx="80">
                  <c:v>8.11.–14.11.</c:v>
                </c:pt>
                <c:pt idx="81">
                  <c:v>15.11.–21.11.</c:v>
                </c:pt>
                <c:pt idx="82">
                  <c:v>22.11.–28.11.</c:v>
                </c:pt>
                <c:pt idx="83">
                  <c:v>29.11.–5.12.</c:v>
                </c:pt>
                <c:pt idx="84">
                  <c:v>6.12.–12.12.</c:v>
                </c:pt>
                <c:pt idx="85">
                  <c:v>13.12.–19.12.</c:v>
                </c:pt>
                <c:pt idx="86">
                  <c:v>20.12.–26.12.</c:v>
                </c:pt>
                <c:pt idx="87">
                  <c:v>27.12.–2.1.</c:v>
                </c:pt>
                <c:pt idx="88">
                  <c:v>3.1.–9.1.</c:v>
                </c:pt>
                <c:pt idx="89">
                  <c:v>10.1.–16.1.</c:v>
                </c:pt>
                <c:pt idx="90">
                  <c:v>17.1.–23.1.</c:v>
                </c:pt>
                <c:pt idx="91">
                  <c:v>24.1.–30.1.</c:v>
                </c:pt>
                <c:pt idx="92">
                  <c:v>31.1.–6.2.</c:v>
                </c:pt>
                <c:pt idx="93">
                  <c:v>7.2.–13.2.</c:v>
                </c:pt>
                <c:pt idx="94">
                  <c:v>14.2.–20.2.</c:v>
                </c:pt>
                <c:pt idx="95">
                  <c:v>21.2.–27.2.</c:v>
                </c:pt>
                <c:pt idx="96">
                  <c:v>28.2.–6.3.</c:v>
                </c:pt>
                <c:pt idx="97">
                  <c:v>7.3.–13.3.</c:v>
                </c:pt>
                <c:pt idx="98">
                  <c:v>14.3.–20.3.</c:v>
                </c:pt>
              </c:strCache>
            </c:strRef>
          </c:cat>
          <c:val>
            <c:numRef>
              <c:f>List1!$B$2:$CV$2</c:f>
              <c:numCache>
                <c:formatCode>General</c:formatCode>
                <c:ptCount val="99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  <c:pt idx="5">
                  <c:v>35</c:v>
                </c:pt>
                <c:pt idx="6">
                  <c:v>0</c:v>
                </c:pt>
                <c:pt idx="7">
                  <c:v>45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110</c:v>
                </c:pt>
                <c:pt idx="13">
                  <c:v>1</c:v>
                </c:pt>
                <c:pt idx="14">
                  <c:v>86</c:v>
                </c:pt>
                <c:pt idx="15">
                  <c:v>40</c:v>
                </c:pt>
                <c:pt idx="16">
                  <c:v>44</c:v>
                </c:pt>
                <c:pt idx="17">
                  <c:v>1</c:v>
                </c:pt>
                <c:pt idx="18">
                  <c:v>196</c:v>
                </c:pt>
                <c:pt idx="19">
                  <c:v>138</c:v>
                </c:pt>
                <c:pt idx="20">
                  <c:v>100</c:v>
                </c:pt>
                <c:pt idx="21">
                  <c:v>627</c:v>
                </c:pt>
                <c:pt idx="22">
                  <c:v>290</c:v>
                </c:pt>
                <c:pt idx="23">
                  <c:v>1325</c:v>
                </c:pt>
                <c:pt idx="24">
                  <c:v>3258</c:v>
                </c:pt>
                <c:pt idx="25">
                  <c:v>2610</c:v>
                </c:pt>
                <c:pt idx="26">
                  <c:v>2702</c:v>
                </c:pt>
                <c:pt idx="27">
                  <c:v>2109</c:v>
                </c:pt>
                <c:pt idx="28">
                  <c:v>3034</c:v>
                </c:pt>
                <c:pt idx="29">
                  <c:v>2017</c:v>
                </c:pt>
                <c:pt idx="30">
                  <c:v>788</c:v>
                </c:pt>
                <c:pt idx="31">
                  <c:v>772</c:v>
                </c:pt>
                <c:pt idx="32">
                  <c:v>1444</c:v>
                </c:pt>
                <c:pt idx="33">
                  <c:v>992</c:v>
                </c:pt>
                <c:pt idx="34">
                  <c:v>582</c:v>
                </c:pt>
                <c:pt idx="35">
                  <c:v>943</c:v>
                </c:pt>
                <c:pt idx="36">
                  <c:v>1069</c:v>
                </c:pt>
                <c:pt idx="37">
                  <c:v>910</c:v>
                </c:pt>
                <c:pt idx="38">
                  <c:v>885</c:v>
                </c:pt>
                <c:pt idx="39">
                  <c:v>409</c:v>
                </c:pt>
                <c:pt idx="40">
                  <c:v>650</c:v>
                </c:pt>
                <c:pt idx="41">
                  <c:v>590</c:v>
                </c:pt>
                <c:pt idx="42">
                  <c:v>204</c:v>
                </c:pt>
                <c:pt idx="43">
                  <c:v>356</c:v>
                </c:pt>
                <c:pt idx="44">
                  <c:v>143</c:v>
                </c:pt>
                <c:pt idx="45">
                  <c:v>223</c:v>
                </c:pt>
                <c:pt idx="46">
                  <c:v>295</c:v>
                </c:pt>
                <c:pt idx="47">
                  <c:v>192</c:v>
                </c:pt>
                <c:pt idx="48">
                  <c:v>115</c:v>
                </c:pt>
                <c:pt idx="49">
                  <c:v>72</c:v>
                </c:pt>
                <c:pt idx="50">
                  <c:v>32</c:v>
                </c:pt>
                <c:pt idx="51">
                  <c:v>16</c:v>
                </c:pt>
                <c:pt idx="52">
                  <c:v>15</c:v>
                </c:pt>
                <c:pt idx="53">
                  <c:v>0</c:v>
                </c:pt>
                <c:pt idx="54">
                  <c:v>14</c:v>
                </c:pt>
                <c:pt idx="55">
                  <c:v>9</c:v>
                </c:pt>
                <c:pt idx="56">
                  <c:v>0</c:v>
                </c:pt>
                <c:pt idx="57">
                  <c:v>3</c:v>
                </c:pt>
                <c:pt idx="58">
                  <c:v>4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3</c:v>
                </c:pt>
                <c:pt idx="64">
                  <c:v>5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10</c:v>
                </c:pt>
                <c:pt idx="69">
                  <c:v>0</c:v>
                </c:pt>
                <c:pt idx="70">
                  <c:v>28</c:v>
                </c:pt>
                <c:pt idx="71">
                  <c:v>0</c:v>
                </c:pt>
                <c:pt idx="72">
                  <c:v>6</c:v>
                </c:pt>
                <c:pt idx="73">
                  <c:v>14</c:v>
                </c:pt>
                <c:pt idx="74">
                  <c:v>46</c:v>
                </c:pt>
                <c:pt idx="75">
                  <c:v>30</c:v>
                </c:pt>
                <c:pt idx="76">
                  <c:v>58</c:v>
                </c:pt>
                <c:pt idx="77">
                  <c:v>28</c:v>
                </c:pt>
                <c:pt idx="78">
                  <c:v>65</c:v>
                </c:pt>
                <c:pt idx="79">
                  <c:v>313</c:v>
                </c:pt>
                <c:pt idx="80">
                  <c:v>90</c:v>
                </c:pt>
                <c:pt idx="81">
                  <c:v>107</c:v>
                </c:pt>
                <c:pt idx="82">
                  <c:v>119</c:v>
                </c:pt>
                <c:pt idx="83">
                  <c:v>105</c:v>
                </c:pt>
                <c:pt idx="84">
                  <c:v>173</c:v>
                </c:pt>
                <c:pt idx="85">
                  <c:v>106</c:v>
                </c:pt>
                <c:pt idx="86">
                  <c:v>70</c:v>
                </c:pt>
                <c:pt idx="87">
                  <c:v>154</c:v>
                </c:pt>
                <c:pt idx="88">
                  <c:v>46</c:v>
                </c:pt>
                <c:pt idx="89">
                  <c:v>28</c:v>
                </c:pt>
                <c:pt idx="90">
                  <c:v>253</c:v>
                </c:pt>
                <c:pt idx="91">
                  <c:v>306</c:v>
                </c:pt>
                <c:pt idx="92">
                  <c:v>486</c:v>
                </c:pt>
                <c:pt idx="93">
                  <c:v>814</c:v>
                </c:pt>
                <c:pt idx="94">
                  <c:v>336</c:v>
                </c:pt>
                <c:pt idx="95">
                  <c:v>285</c:v>
                </c:pt>
                <c:pt idx="96">
                  <c:v>110</c:v>
                </c:pt>
                <c:pt idx="97">
                  <c:v>186</c:v>
                </c:pt>
                <c:pt idx="98">
                  <c:v>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7D-4055-8756-BCAC7661DC4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7D-4055-8756-BCAC7661DC44}"/>
              </c:ext>
            </c:extLst>
          </c:dPt>
          <c:dLbls>
            <c:dLbl>
              <c:idx val="0"/>
              <c:layout>
                <c:manualLayout>
                  <c:x val="-0.19551252206363898"/>
                  <c:y val="-4.63981630761377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C7D-4055-8756-BCAC7661DC44}"/>
                </c:ext>
              </c:extLst>
            </c:dLbl>
            <c:dLbl>
              <c:idx val="1"/>
              <c:layout>
                <c:manualLayout>
                  <c:x val="0.19018843929624771"/>
                  <c:y val="9.51762091785217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C7D-4055-8756-BCAC7661DC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59673725536850863</c:v>
                </c:pt>
                <c:pt idx="1">
                  <c:v>0.40326274463149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7D-4055-8756-BCAC7661DC4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explosion val="3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22-41E2-BAC0-9FFA33A423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22-41E2-BAC0-9FFA33A42325}"/>
              </c:ext>
            </c:extLst>
          </c:dPt>
          <c:dLbls>
            <c:dLbl>
              <c:idx val="0"/>
              <c:layout>
                <c:manualLayout>
                  <c:x val="-0.1764062209815882"/>
                  <c:y val="-8.371227168708224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631503403883819"/>
                      <c:h val="0.173371975717002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E22-41E2-BAC0-9FFA33A42325}"/>
                </c:ext>
              </c:extLst>
            </c:dLbl>
            <c:dLbl>
              <c:idx val="1"/>
              <c:layout>
                <c:manualLayout>
                  <c:x val="0.13720483854123527"/>
                  <c:y val="0.1316880742377890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751296037830877"/>
                      <c:h val="0.173371975717002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E22-41E2-BAC0-9FFA33A423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6595349678065332</c:v>
                </c:pt>
                <c:pt idx="1">
                  <c:v>0.340465032193466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2-41E2-BAC0-9FFA33A423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A8-4DEA-901C-9B274B6051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6A8-4DEA-901C-9B274B605125}"/>
              </c:ext>
            </c:extLst>
          </c:dPt>
          <c:dLbls>
            <c:dLbl>
              <c:idx val="0"/>
              <c:layout>
                <c:manualLayout>
                  <c:x val="9.9717101834593827E-2"/>
                  <c:y val="-0.1561408035267773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510648422761702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6A8-4DEA-901C-9B274B605125}"/>
                </c:ext>
              </c:extLst>
            </c:dLbl>
            <c:dLbl>
              <c:idx val="1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894669692341171"/>
                      <c:h val="9.535458664435128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6A8-4DEA-901C-9B274B605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99913035518125226</c:v>
                </c:pt>
                <c:pt idx="1">
                  <c:v>8.6964481874771148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A8-4DEA-901C-9B274B6051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D31145"/>
            </a:solidFill>
          </c:spPr>
          <c:dPt>
            <c:idx val="0"/>
            <c:bubble3D val="0"/>
            <c:spPr>
              <a:solidFill>
                <a:srgbClr val="D3114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92-4D3D-8334-193589D5135D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92-4D3D-8334-193589D5135D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F92-4D3D-8334-193589D5135D}"/>
                </c:ext>
              </c:extLst>
            </c:dLbl>
            <c:dLbl>
              <c:idx val="1"/>
              <c:layout>
                <c:manualLayout>
                  <c:x val="2.6849345794777161E-2"/>
                  <c:y val="4.316461646342099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F92-4D3D-8334-193589D513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86801637349264293</c:v>
                </c:pt>
                <c:pt idx="1">
                  <c:v>0.131983626507357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92-4D3D-8334-193589D5135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89-4EC5-9106-44D5B8B3D789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89-4EC5-9106-44D5B8B3D789}"/>
              </c:ext>
            </c:extLst>
          </c:dPt>
          <c:dLbls>
            <c:dLbl>
              <c:idx val="0"/>
              <c:layout>
                <c:manualLayout>
                  <c:x val="-0.11796735173054548"/>
                  <c:y val="-0.1503617376695439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430786666796995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C89-4EC5-9106-44D5B8B3D789}"/>
                </c:ext>
              </c:extLst>
            </c:dLbl>
            <c:dLbl>
              <c:idx val="1"/>
              <c:layout>
                <c:manualLayout>
                  <c:x val="-3.729790324049328E-4"/>
                  <c:y val="5.572657646773483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775961527084196"/>
                      <c:h val="0.176377089962763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C89-4EC5-9106-44D5B8B3D7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D$2:$D$3</c:f>
              <c:numCache>
                <c:formatCode>0.0%</c:formatCode>
                <c:ptCount val="2"/>
                <c:pt idx="0">
                  <c:v>0.9265189421015011</c:v>
                </c:pt>
                <c:pt idx="1">
                  <c:v>7.3481057898498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89-4EC5-9106-44D5B8B3D78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umulativní počet pozitivníc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1678566292919781"/>
          <c:y val="9.8724301501472447E-2"/>
          <c:w val="0.86222309884669401"/>
          <c:h val="0.66944541343353126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65</c:f>
              <c:numCache>
                <c:formatCode>m/d/yyyy</c:formatCode>
                <c:ptCount val="56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</c:numCache>
            </c:numRef>
          </c:cat>
          <c:val>
            <c:numRef>
              <c:f>List1!$B$2:$B$565</c:f>
              <c:numCache>
                <c:formatCode>General</c:formatCode>
                <c:ptCount val="564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9</c:v>
                </c:pt>
                <c:pt idx="11">
                  <c:v>13</c:v>
                </c:pt>
                <c:pt idx="12">
                  <c:v>14</c:v>
                </c:pt>
                <c:pt idx="13">
                  <c:v>23</c:v>
                </c:pt>
                <c:pt idx="14">
                  <c:v>23</c:v>
                </c:pt>
                <c:pt idx="15">
                  <c:v>23</c:v>
                </c:pt>
                <c:pt idx="16">
                  <c:v>23</c:v>
                </c:pt>
                <c:pt idx="17">
                  <c:v>25</c:v>
                </c:pt>
                <c:pt idx="18">
                  <c:v>26</c:v>
                </c:pt>
                <c:pt idx="19">
                  <c:v>30</c:v>
                </c:pt>
                <c:pt idx="20">
                  <c:v>31</c:v>
                </c:pt>
                <c:pt idx="21">
                  <c:v>32</c:v>
                </c:pt>
                <c:pt idx="22">
                  <c:v>33</c:v>
                </c:pt>
                <c:pt idx="23">
                  <c:v>36</c:v>
                </c:pt>
                <c:pt idx="24">
                  <c:v>37</c:v>
                </c:pt>
                <c:pt idx="25">
                  <c:v>42</c:v>
                </c:pt>
                <c:pt idx="26">
                  <c:v>49</c:v>
                </c:pt>
                <c:pt idx="27">
                  <c:v>52</c:v>
                </c:pt>
                <c:pt idx="28">
                  <c:v>57</c:v>
                </c:pt>
                <c:pt idx="29">
                  <c:v>85</c:v>
                </c:pt>
                <c:pt idx="30">
                  <c:v>116</c:v>
                </c:pt>
                <c:pt idx="31">
                  <c:v>179</c:v>
                </c:pt>
                <c:pt idx="32">
                  <c:v>215</c:v>
                </c:pt>
                <c:pt idx="33">
                  <c:v>271</c:v>
                </c:pt>
                <c:pt idx="34">
                  <c:v>438</c:v>
                </c:pt>
                <c:pt idx="35">
                  <c:v>521</c:v>
                </c:pt>
                <c:pt idx="36">
                  <c:v>566</c:v>
                </c:pt>
                <c:pt idx="37">
                  <c:v>645</c:v>
                </c:pt>
                <c:pt idx="38">
                  <c:v>784</c:v>
                </c:pt>
                <c:pt idx="39">
                  <c:v>814</c:v>
                </c:pt>
                <c:pt idx="40">
                  <c:v>827</c:v>
                </c:pt>
                <c:pt idx="41">
                  <c:v>966</c:v>
                </c:pt>
                <c:pt idx="42">
                  <c:v>1191</c:v>
                </c:pt>
                <c:pt idx="43">
                  <c:v>1373</c:v>
                </c:pt>
                <c:pt idx="44">
                  <c:v>1573</c:v>
                </c:pt>
                <c:pt idx="45">
                  <c:v>1779</c:v>
                </c:pt>
                <c:pt idx="46">
                  <c:v>1936</c:v>
                </c:pt>
                <c:pt idx="47">
                  <c:v>1977</c:v>
                </c:pt>
                <c:pt idx="48">
                  <c:v>2223</c:v>
                </c:pt>
                <c:pt idx="49">
                  <c:v>2426</c:v>
                </c:pt>
                <c:pt idx="50">
                  <c:v>2753</c:v>
                </c:pt>
                <c:pt idx="51">
                  <c:v>2991</c:v>
                </c:pt>
                <c:pt idx="52">
                  <c:v>3415</c:v>
                </c:pt>
                <c:pt idx="53">
                  <c:v>3646</c:v>
                </c:pt>
                <c:pt idx="54">
                  <c:v>3844</c:v>
                </c:pt>
                <c:pt idx="55">
                  <c:v>4235</c:v>
                </c:pt>
                <c:pt idx="56">
                  <c:v>4771</c:v>
                </c:pt>
                <c:pt idx="57">
                  <c:v>5037</c:v>
                </c:pt>
                <c:pt idx="58">
                  <c:v>5584</c:v>
                </c:pt>
                <c:pt idx="59">
                  <c:v>6173</c:v>
                </c:pt>
                <c:pt idx="60">
                  <c:v>6512</c:v>
                </c:pt>
                <c:pt idx="61">
                  <c:v>6728</c:v>
                </c:pt>
                <c:pt idx="62">
                  <c:v>7065</c:v>
                </c:pt>
                <c:pt idx="63">
                  <c:v>7415</c:v>
                </c:pt>
                <c:pt idx="64">
                  <c:v>7842</c:v>
                </c:pt>
                <c:pt idx="65">
                  <c:v>8384</c:v>
                </c:pt>
                <c:pt idx="66">
                  <c:v>8883</c:v>
                </c:pt>
                <c:pt idx="67">
                  <c:v>9099</c:v>
                </c:pt>
                <c:pt idx="68">
                  <c:v>9182</c:v>
                </c:pt>
                <c:pt idx="69">
                  <c:v>9391</c:v>
                </c:pt>
                <c:pt idx="70">
                  <c:v>9778</c:v>
                </c:pt>
                <c:pt idx="71">
                  <c:v>10461</c:v>
                </c:pt>
                <c:pt idx="72">
                  <c:v>10967</c:v>
                </c:pt>
                <c:pt idx="73">
                  <c:v>11453</c:v>
                </c:pt>
                <c:pt idx="74">
                  <c:v>11639</c:v>
                </c:pt>
                <c:pt idx="75">
                  <c:v>11809</c:v>
                </c:pt>
                <c:pt idx="76">
                  <c:v>12201</c:v>
                </c:pt>
                <c:pt idx="77">
                  <c:v>12340</c:v>
                </c:pt>
                <c:pt idx="78">
                  <c:v>12613</c:v>
                </c:pt>
                <c:pt idx="79">
                  <c:v>12888</c:v>
                </c:pt>
                <c:pt idx="80">
                  <c:v>13133</c:v>
                </c:pt>
                <c:pt idx="81">
                  <c:v>13229</c:v>
                </c:pt>
                <c:pt idx="82">
                  <c:v>13322</c:v>
                </c:pt>
                <c:pt idx="83">
                  <c:v>13707</c:v>
                </c:pt>
                <c:pt idx="84">
                  <c:v>13908</c:v>
                </c:pt>
                <c:pt idx="85">
                  <c:v>14039</c:v>
                </c:pt>
                <c:pt idx="86">
                  <c:v>14238</c:v>
                </c:pt>
                <c:pt idx="87">
                  <c:v>14378</c:v>
                </c:pt>
                <c:pt idx="88">
                  <c:v>14457</c:v>
                </c:pt>
                <c:pt idx="89">
                  <c:v>14486</c:v>
                </c:pt>
                <c:pt idx="90">
                  <c:v>14700</c:v>
                </c:pt>
                <c:pt idx="91">
                  <c:v>14826</c:v>
                </c:pt>
                <c:pt idx="92">
                  <c:v>14962</c:v>
                </c:pt>
                <c:pt idx="93">
                  <c:v>15094</c:v>
                </c:pt>
                <c:pt idx="94">
                  <c:v>15244</c:v>
                </c:pt>
                <c:pt idx="95">
                  <c:v>15334</c:v>
                </c:pt>
                <c:pt idx="96">
                  <c:v>15357</c:v>
                </c:pt>
                <c:pt idx="97">
                  <c:v>15501</c:v>
                </c:pt>
                <c:pt idx="98">
                  <c:v>15593</c:v>
                </c:pt>
                <c:pt idx="99">
                  <c:v>15734</c:v>
                </c:pt>
                <c:pt idx="100">
                  <c:v>15819</c:v>
                </c:pt>
                <c:pt idx="101">
                  <c:v>16059</c:v>
                </c:pt>
                <c:pt idx="102">
                  <c:v>16126</c:v>
                </c:pt>
                <c:pt idx="103">
                  <c:v>16177</c:v>
                </c:pt>
                <c:pt idx="104">
                  <c:v>16327</c:v>
                </c:pt>
                <c:pt idx="105">
                  <c:v>16461</c:v>
                </c:pt>
                <c:pt idx="106">
                  <c:v>16561</c:v>
                </c:pt>
                <c:pt idx="107">
                  <c:v>16631</c:v>
                </c:pt>
                <c:pt idx="108">
                  <c:v>16855</c:v>
                </c:pt>
                <c:pt idx="109">
                  <c:v>16916</c:v>
                </c:pt>
                <c:pt idx="110">
                  <c:v>16938</c:v>
                </c:pt>
                <c:pt idx="111">
                  <c:v>17118</c:v>
                </c:pt>
                <c:pt idx="112">
                  <c:v>17296</c:v>
                </c:pt>
                <c:pt idx="113">
                  <c:v>17420</c:v>
                </c:pt>
                <c:pt idx="114">
                  <c:v>17439</c:v>
                </c:pt>
                <c:pt idx="115">
                  <c:v>17512</c:v>
                </c:pt>
                <c:pt idx="116">
                  <c:v>17591</c:v>
                </c:pt>
                <c:pt idx="117">
                  <c:v>17689</c:v>
                </c:pt>
                <c:pt idx="118">
                  <c:v>17855</c:v>
                </c:pt>
                <c:pt idx="119">
                  <c:v>18040</c:v>
                </c:pt>
                <c:pt idx="120">
                  <c:v>18188</c:v>
                </c:pt>
                <c:pt idx="121">
                  <c:v>18324</c:v>
                </c:pt>
                <c:pt idx="122">
                  <c:v>18391</c:v>
                </c:pt>
                <c:pt idx="123">
                  <c:v>18453</c:v>
                </c:pt>
                <c:pt idx="124">
                  <c:v>18496</c:v>
                </c:pt>
                <c:pt idx="125">
                  <c:v>18767</c:v>
                </c:pt>
                <c:pt idx="126">
                  <c:v>18923</c:v>
                </c:pt>
                <c:pt idx="127">
                  <c:v>19086</c:v>
                </c:pt>
                <c:pt idx="128">
                  <c:v>19321</c:v>
                </c:pt>
                <c:pt idx="129">
                  <c:v>19511</c:v>
                </c:pt>
                <c:pt idx="130">
                  <c:v>19577</c:v>
                </c:pt>
                <c:pt idx="131">
                  <c:v>19614</c:v>
                </c:pt>
                <c:pt idx="132">
                  <c:v>19859</c:v>
                </c:pt>
                <c:pt idx="133">
                  <c:v>19989</c:v>
                </c:pt>
                <c:pt idx="134">
                  <c:v>20164</c:v>
                </c:pt>
                <c:pt idx="135">
                  <c:v>20263</c:v>
                </c:pt>
                <c:pt idx="136">
                  <c:v>20355</c:v>
                </c:pt>
                <c:pt idx="137">
                  <c:v>20391</c:v>
                </c:pt>
                <c:pt idx="138">
                  <c:v>20439</c:v>
                </c:pt>
                <c:pt idx="139">
                  <c:v>20606</c:v>
                </c:pt>
                <c:pt idx="140">
                  <c:v>20690</c:v>
                </c:pt>
                <c:pt idx="141">
                  <c:v>20837</c:v>
                </c:pt>
                <c:pt idx="142">
                  <c:v>20945</c:v>
                </c:pt>
                <c:pt idx="143">
                  <c:v>21064</c:v>
                </c:pt>
                <c:pt idx="144">
                  <c:v>21118</c:v>
                </c:pt>
                <c:pt idx="145">
                  <c:v>21144</c:v>
                </c:pt>
                <c:pt idx="146">
                  <c:v>21232</c:v>
                </c:pt>
                <c:pt idx="147">
                  <c:v>21275</c:v>
                </c:pt>
                <c:pt idx="148">
                  <c:v>21371</c:v>
                </c:pt>
                <c:pt idx="149">
                  <c:v>21439</c:v>
                </c:pt>
                <c:pt idx="150">
                  <c:v>21477</c:v>
                </c:pt>
                <c:pt idx="151">
                  <c:v>21526</c:v>
                </c:pt>
                <c:pt idx="152">
                  <c:v>21536</c:v>
                </c:pt>
                <c:pt idx="153">
                  <c:v>21644</c:v>
                </c:pt>
                <c:pt idx="154">
                  <c:v>21742</c:v>
                </c:pt>
                <c:pt idx="155">
                  <c:v>21845</c:v>
                </c:pt>
                <c:pt idx="156">
                  <c:v>21931</c:v>
                </c:pt>
                <c:pt idx="157">
                  <c:v>22017</c:v>
                </c:pt>
                <c:pt idx="158">
                  <c:v>22061</c:v>
                </c:pt>
                <c:pt idx="159">
                  <c:v>22077</c:v>
                </c:pt>
                <c:pt idx="160">
                  <c:v>22143</c:v>
                </c:pt>
                <c:pt idx="161">
                  <c:v>22209</c:v>
                </c:pt>
                <c:pt idx="162">
                  <c:v>22277</c:v>
                </c:pt>
                <c:pt idx="163">
                  <c:v>22347</c:v>
                </c:pt>
                <c:pt idx="164">
                  <c:v>22399</c:v>
                </c:pt>
                <c:pt idx="165">
                  <c:v>22408</c:v>
                </c:pt>
                <c:pt idx="166">
                  <c:v>22422</c:v>
                </c:pt>
                <c:pt idx="167">
                  <c:v>22459</c:v>
                </c:pt>
                <c:pt idx="168">
                  <c:v>22478</c:v>
                </c:pt>
                <c:pt idx="169">
                  <c:v>22508</c:v>
                </c:pt>
                <c:pt idx="170">
                  <c:v>22539</c:v>
                </c:pt>
                <c:pt idx="171">
                  <c:v>22567</c:v>
                </c:pt>
                <c:pt idx="172">
                  <c:v>22586</c:v>
                </c:pt>
                <c:pt idx="173">
                  <c:v>22594</c:v>
                </c:pt>
                <c:pt idx="174">
                  <c:v>22686</c:v>
                </c:pt>
                <c:pt idx="175">
                  <c:v>22723</c:v>
                </c:pt>
                <c:pt idx="176">
                  <c:v>22759</c:v>
                </c:pt>
                <c:pt idx="177">
                  <c:v>22805</c:v>
                </c:pt>
                <c:pt idx="178">
                  <c:v>22854</c:v>
                </c:pt>
                <c:pt idx="179">
                  <c:v>22865</c:v>
                </c:pt>
                <c:pt idx="180">
                  <c:v>22868</c:v>
                </c:pt>
                <c:pt idx="181">
                  <c:v>22947</c:v>
                </c:pt>
                <c:pt idx="182">
                  <c:v>22976</c:v>
                </c:pt>
                <c:pt idx="183">
                  <c:v>23020</c:v>
                </c:pt>
                <c:pt idx="184">
                  <c:v>23031</c:v>
                </c:pt>
                <c:pt idx="185">
                  <c:v>23055</c:v>
                </c:pt>
                <c:pt idx="186">
                  <c:v>23060</c:v>
                </c:pt>
                <c:pt idx="187">
                  <c:v>23066</c:v>
                </c:pt>
                <c:pt idx="188">
                  <c:v>23094</c:v>
                </c:pt>
                <c:pt idx="189">
                  <c:v>23209</c:v>
                </c:pt>
                <c:pt idx="190">
                  <c:v>23277</c:v>
                </c:pt>
                <c:pt idx="191">
                  <c:v>23292</c:v>
                </c:pt>
                <c:pt idx="192">
                  <c:v>23326</c:v>
                </c:pt>
                <c:pt idx="193">
                  <c:v>23335</c:v>
                </c:pt>
                <c:pt idx="194">
                  <c:v>23342</c:v>
                </c:pt>
                <c:pt idx="195">
                  <c:v>23373</c:v>
                </c:pt>
                <c:pt idx="196">
                  <c:v>23395</c:v>
                </c:pt>
                <c:pt idx="197">
                  <c:v>23407</c:v>
                </c:pt>
                <c:pt idx="198">
                  <c:v>23444</c:v>
                </c:pt>
                <c:pt idx="199">
                  <c:v>23462</c:v>
                </c:pt>
                <c:pt idx="200">
                  <c:v>23472</c:v>
                </c:pt>
                <c:pt idx="201">
                  <c:v>23476</c:v>
                </c:pt>
                <c:pt idx="202">
                  <c:v>23489</c:v>
                </c:pt>
                <c:pt idx="203">
                  <c:v>23520</c:v>
                </c:pt>
                <c:pt idx="204">
                  <c:v>23542</c:v>
                </c:pt>
                <c:pt idx="205">
                  <c:v>23574</c:v>
                </c:pt>
                <c:pt idx="206">
                  <c:v>23581</c:v>
                </c:pt>
                <c:pt idx="207">
                  <c:v>23584</c:v>
                </c:pt>
                <c:pt idx="208">
                  <c:v>23588</c:v>
                </c:pt>
                <c:pt idx="209">
                  <c:v>23610</c:v>
                </c:pt>
                <c:pt idx="210">
                  <c:v>23623</c:v>
                </c:pt>
                <c:pt idx="211">
                  <c:v>23634</c:v>
                </c:pt>
                <c:pt idx="212">
                  <c:v>23645</c:v>
                </c:pt>
                <c:pt idx="213">
                  <c:v>23649</c:v>
                </c:pt>
                <c:pt idx="214">
                  <c:v>23653</c:v>
                </c:pt>
                <c:pt idx="215">
                  <c:v>23655</c:v>
                </c:pt>
                <c:pt idx="216">
                  <c:v>23656</c:v>
                </c:pt>
                <c:pt idx="217">
                  <c:v>23661</c:v>
                </c:pt>
                <c:pt idx="218">
                  <c:v>23680</c:v>
                </c:pt>
                <c:pt idx="219">
                  <c:v>23682</c:v>
                </c:pt>
                <c:pt idx="220">
                  <c:v>23685</c:v>
                </c:pt>
                <c:pt idx="221">
                  <c:v>23686</c:v>
                </c:pt>
                <c:pt idx="222">
                  <c:v>23686</c:v>
                </c:pt>
                <c:pt idx="223">
                  <c:v>23688</c:v>
                </c:pt>
                <c:pt idx="224">
                  <c:v>23691</c:v>
                </c:pt>
                <c:pt idx="225">
                  <c:v>23695</c:v>
                </c:pt>
                <c:pt idx="226">
                  <c:v>23699</c:v>
                </c:pt>
                <c:pt idx="227">
                  <c:v>23700</c:v>
                </c:pt>
                <c:pt idx="228">
                  <c:v>23701</c:v>
                </c:pt>
                <c:pt idx="229">
                  <c:v>23703</c:v>
                </c:pt>
                <c:pt idx="230">
                  <c:v>23710</c:v>
                </c:pt>
                <c:pt idx="231">
                  <c:v>23715</c:v>
                </c:pt>
                <c:pt idx="232">
                  <c:v>23718</c:v>
                </c:pt>
                <c:pt idx="233">
                  <c:v>23737</c:v>
                </c:pt>
                <c:pt idx="234">
                  <c:v>23745</c:v>
                </c:pt>
                <c:pt idx="235">
                  <c:v>23746</c:v>
                </c:pt>
                <c:pt idx="236">
                  <c:v>23746</c:v>
                </c:pt>
                <c:pt idx="237">
                  <c:v>23748</c:v>
                </c:pt>
                <c:pt idx="238">
                  <c:v>23752</c:v>
                </c:pt>
                <c:pt idx="239">
                  <c:v>23753</c:v>
                </c:pt>
                <c:pt idx="240">
                  <c:v>23755</c:v>
                </c:pt>
                <c:pt idx="241">
                  <c:v>23756</c:v>
                </c:pt>
                <c:pt idx="242">
                  <c:v>23756</c:v>
                </c:pt>
                <c:pt idx="243">
                  <c:v>23756</c:v>
                </c:pt>
                <c:pt idx="244">
                  <c:v>23758</c:v>
                </c:pt>
                <c:pt idx="245">
                  <c:v>23758</c:v>
                </c:pt>
                <c:pt idx="246">
                  <c:v>23761</c:v>
                </c:pt>
                <c:pt idx="247">
                  <c:v>23762</c:v>
                </c:pt>
                <c:pt idx="248">
                  <c:v>23764</c:v>
                </c:pt>
                <c:pt idx="249">
                  <c:v>23764</c:v>
                </c:pt>
                <c:pt idx="250">
                  <c:v>23767</c:v>
                </c:pt>
                <c:pt idx="251">
                  <c:v>23772</c:v>
                </c:pt>
                <c:pt idx="252">
                  <c:v>23774</c:v>
                </c:pt>
                <c:pt idx="253">
                  <c:v>23774</c:v>
                </c:pt>
                <c:pt idx="254">
                  <c:v>23777</c:v>
                </c:pt>
                <c:pt idx="255">
                  <c:v>23782</c:v>
                </c:pt>
                <c:pt idx="256">
                  <c:v>23783</c:v>
                </c:pt>
                <c:pt idx="257">
                  <c:v>23783</c:v>
                </c:pt>
                <c:pt idx="258">
                  <c:v>23786</c:v>
                </c:pt>
                <c:pt idx="259">
                  <c:v>23786</c:v>
                </c:pt>
                <c:pt idx="260">
                  <c:v>23788</c:v>
                </c:pt>
                <c:pt idx="261">
                  <c:v>23788</c:v>
                </c:pt>
                <c:pt idx="262">
                  <c:v>23788</c:v>
                </c:pt>
                <c:pt idx="263">
                  <c:v>23788</c:v>
                </c:pt>
                <c:pt idx="264">
                  <c:v>23788</c:v>
                </c:pt>
                <c:pt idx="265">
                  <c:v>23790</c:v>
                </c:pt>
                <c:pt idx="266">
                  <c:v>23790</c:v>
                </c:pt>
                <c:pt idx="267">
                  <c:v>23790</c:v>
                </c:pt>
                <c:pt idx="268">
                  <c:v>23790</c:v>
                </c:pt>
                <c:pt idx="269">
                  <c:v>23790</c:v>
                </c:pt>
                <c:pt idx="270">
                  <c:v>23790</c:v>
                </c:pt>
                <c:pt idx="271">
                  <c:v>23790</c:v>
                </c:pt>
                <c:pt idx="272">
                  <c:v>23791</c:v>
                </c:pt>
                <c:pt idx="273">
                  <c:v>23791</c:v>
                </c:pt>
                <c:pt idx="274">
                  <c:v>23794</c:v>
                </c:pt>
                <c:pt idx="275">
                  <c:v>23795</c:v>
                </c:pt>
                <c:pt idx="276">
                  <c:v>23795</c:v>
                </c:pt>
                <c:pt idx="277">
                  <c:v>23795</c:v>
                </c:pt>
                <c:pt idx="278">
                  <c:v>23795</c:v>
                </c:pt>
                <c:pt idx="279">
                  <c:v>23796</c:v>
                </c:pt>
                <c:pt idx="280">
                  <c:v>23796</c:v>
                </c:pt>
                <c:pt idx="281">
                  <c:v>23796</c:v>
                </c:pt>
                <c:pt idx="282">
                  <c:v>23796</c:v>
                </c:pt>
                <c:pt idx="283">
                  <c:v>23797</c:v>
                </c:pt>
                <c:pt idx="284">
                  <c:v>23798</c:v>
                </c:pt>
                <c:pt idx="285">
                  <c:v>23798</c:v>
                </c:pt>
                <c:pt idx="286">
                  <c:v>23798</c:v>
                </c:pt>
                <c:pt idx="287">
                  <c:v>23798</c:v>
                </c:pt>
                <c:pt idx="288">
                  <c:v>23798</c:v>
                </c:pt>
                <c:pt idx="289">
                  <c:v>23799</c:v>
                </c:pt>
                <c:pt idx="290">
                  <c:v>23799</c:v>
                </c:pt>
                <c:pt idx="291">
                  <c:v>23799</c:v>
                </c:pt>
                <c:pt idx="292">
                  <c:v>23799</c:v>
                </c:pt>
                <c:pt idx="293">
                  <c:v>23799</c:v>
                </c:pt>
                <c:pt idx="294">
                  <c:v>23799</c:v>
                </c:pt>
                <c:pt idx="295">
                  <c:v>23800</c:v>
                </c:pt>
                <c:pt idx="296">
                  <c:v>23801</c:v>
                </c:pt>
                <c:pt idx="297">
                  <c:v>23801</c:v>
                </c:pt>
                <c:pt idx="298">
                  <c:v>23801</c:v>
                </c:pt>
                <c:pt idx="299">
                  <c:v>23801</c:v>
                </c:pt>
                <c:pt idx="300">
                  <c:v>23801</c:v>
                </c:pt>
                <c:pt idx="301">
                  <c:v>23801</c:v>
                </c:pt>
                <c:pt idx="302">
                  <c:v>23801</c:v>
                </c:pt>
                <c:pt idx="303">
                  <c:v>23802</c:v>
                </c:pt>
                <c:pt idx="304">
                  <c:v>23802</c:v>
                </c:pt>
                <c:pt idx="305">
                  <c:v>23802</c:v>
                </c:pt>
                <c:pt idx="306">
                  <c:v>23803</c:v>
                </c:pt>
                <c:pt idx="307">
                  <c:v>23803</c:v>
                </c:pt>
                <c:pt idx="308">
                  <c:v>23804</c:v>
                </c:pt>
                <c:pt idx="309">
                  <c:v>23804</c:v>
                </c:pt>
                <c:pt idx="310">
                  <c:v>23805</c:v>
                </c:pt>
                <c:pt idx="311">
                  <c:v>23805</c:v>
                </c:pt>
                <c:pt idx="312">
                  <c:v>23805</c:v>
                </c:pt>
                <c:pt idx="313">
                  <c:v>23805</c:v>
                </c:pt>
                <c:pt idx="314">
                  <c:v>23805</c:v>
                </c:pt>
                <c:pt idx="315">
                  <c:v>23805</c:v>
                </c:pt>
                <c:pt idx="316">
                  <c:v>23805</c:v>
                </c:pt>
                <c:pt idx="317">
                  <c:v>23805</c:v>
                </c:pt>
                <c:pt idx="318">
                  <c:v>23805</c:v>
                </c:pt>
                <c:pt idx="319">
                  <c:v>23805</c:v>
                </c:pt>
                <c:pt idx="320">
                  <c:v>23805</c:v>
                </c:pt>
                <c:pt idx="321">
                  <c:v>23805</c:v>
                </c:pt>
                <c:pt idx="322">
                  <c:v>23805</c:v>
                </c:pt>
                <c:pt idx="323">
                  <c:v>23805</c:v>
                </c:pt>
                <c:pt idx="324">
                  <c:v>23805</c:v>
                </c:pt>
                <c:pt idx="325">
                  <c:v>23805</c:v>
                </c:pt>
                <c:pt idx="326">
                  <c:v>23806</c:v>
                </c:pt>
                <c:pt idx="327">
                  <c:v>23806</c:v>
                </c:pt>
                <c:pt idx="328">
                  <c:v>23806</c:v>
                </c:pt>
                <c:pt idx="329">
                  <c:v>23806</c:v>
                </c:pt>
                <c:pt idx="330">
                  <c:v>23806</c:v>
                </c:pt>
                <c:pt idx="331">
                  <c:v>23806</c:v>
                </c:pt>
                <c:pt idx="332">
                  <c:v>23807</c:v>
                </c:pt>
                <c:pt idx="333">
                  <c:v>23807</c:v>
                </c:pt>
                <c:pt idx="334">
                  <c:v>23807</c:v>
                </c:pt>
                <c:pt idx="335">
                  <c:v>23807</c:v>
                </c:pt>
                <c:pt idx="336">
                  <c:v>23807</c:v>
                </c:pt>
                <c:pt idx="337">
                  <c:v>23807</c:v>
                </c:pt>
                <c:pt idx="338">
                  <c:v>23807</c:v>
                </c:pt>
                <c:pt idx="339">
                  <c:v>23807</c:v>
                </c:pt>
                <c:pt idx="340">
                  <c:v>23807</c:v>
                </c:pt>
                <c:pt idx="341">
                  <c:v>23807</c:v>
                </c:pt>
                <c:pt idx="342">
                  <c:v>23807</c:v>
                </c:pt>
                <c:pt idx="343">
                  <c:v>23807</c:v>
                </c:pt>
                <c:pt idx="344">
                  <c:v>23807</c:v>
                </c:pt>
                <c:pt idx="345">
                  <c:v>23807</c:v>
                </c:pt>
                <c:pt idx="346">
                  <c:v>23807</c:v>
                </c:pt>
                <c:pt idx="347">
                  <c:v>23807</c:v>
                </c:pt>
                <c:pt idx="348">
                  <c:v>23807</c:v>
                </c:pt>
                <c:pt idx="349">
                  <c:v>23808</c:v>
                </c:pt>
                <c:pt idx="350">
                  <c:v>23809</c:v>
                </c:pt>
                <c:pt idx="351">
                  <c:v>23809</c:v>
                </c:pt>
                <c:pt idx="352">
                  <c:v>23810</c:v>
                </c:pt>
                <c:pt idx="353">
                  <c:v>23810</c:v>
                </c:pt>
                <c:pt idx="354">
                  <c:v>23810</c:v>
                </c:pt>
                <c:pt idx="355">
                  <c:v>23810</c:v>
                </c:pt>
                <c:pt idx="356">
                  <c:v>23812</c:v>
                </c:pt>
                <c:pt idx="357">
                  <c:v>23812</c:v>
                </c:pt>
                <c:pt idx="358">
                  <c:v>23812</c:v>
                </c:pt>
                <c:pt idx="359">
                  <c:v>23812</c:v>
                </c:pt>
                <c:pt idx="360">
                  <c:v>23812</c:v>
                </c:pt>
                <c:pt idx="361">
                  <c:v>23812</c:v>
                </c:pt>
                <c:pt idx="362">
                  <c:v>23812</c:v>
                </c:pt>
                <c:pt idx="363">
                  <c:v>23812</c:v>
                </c:pt>
                <c:pt idx="364">
                  <c:v>23812</c:v>
                </c:pt>
                <c:pt idx="365">
                  <c:v>23813</c:v>
                </c:pt>
                <c:pt idx="366">
                  <c:v>23817</c:v>
                </c:pt>
                <c:pt idx="367">
                  <c:v>23819</c:v>
                </c:pt>
                <c:pt idx="368">
                  <c:v>23820</c:v>
                </c:pt>
                <c:pt idx="369">
                  <c:v>23820</c:v>
                </c:pt>
                <c:pt idx="370">
                  <c:v>23824</c:v>
                </c:pt>
                <c:pt idx="371">
                  <c:v>23824</c:v>
                </c:pt>
                <c:pt idx="372">
                  <c:v>23824</c:v>
                </c:pt>
                <c:pt idx="373">
                  <c:v>23825</c:v>
                </c:pt>
                <c:pt idx="374">
                  <c:v>23825</c:v>
                </c:pt>
                <c:pt idx="375">
                  <c:v>23825</c:v>
                </c:pt>
                <c:pt idx="376">
                  <c:v>23825</c:v>
                </c:pt>
                <c:pt idx="377">
                  <c:v>23826</c:v>
                </c:pt>
                <c:pt idx="378">
                  <c:v>23826</c:v>
                </c:pt>
                <c:pt idx="379">
                  <c:v>23826</c:v>
                </c:pt>
                <c:pt idx="380">
                  <c:v>23826</c:v>
                </c:pt>
                <c:pt idx="381">
                  <c:v>23826</c:v>
                </c:pt>
                <c:pt idx="382">
                  <c:v>23826</c:v>
                </c:pt>
                <c:pt idx="383">
                  <c:v>23826</c:v>
                </c:pt>
                <c:pt idx="384">
                  <c:v>23827</c:v>
                </c:pt>
                <c:pt idx="385">
                  <c:v>23831</c:v>
                </c:pt>
                <c:pt idx="386">
                  <c:v>23832</c:v>
                </c:pt>
                <c:pt idx="387">
                  <c:v>23832</c:v>
                </c:pt>
                <c:pt idx="388">
                  <c:v>23832</c:v>
                </c:pt>
                <c:pt idx="389">
                  <c:v>23832</c:v>
                </c:pt>
                <c:pt idx="390">
                  <c:v>23832</c:v>
                </c:pt>
                <c:pt idx="391">
                  <c:v>23834</c:v>
                </c:pt>
                <c:pt idx="392">
                  <c:v>23834</c:v>
                </c:pt>
                <c:pt idx="393">
                  <c:v>23835</c:v>
                </c:pt>
                <c:pt idx="394">
                  <c:v>23835</c:v>
                </c:pt>
                <c:pt idx="395">
                  <c:v>23835</c:v>
                </c:pt>
                <c:pt idx="396">
                  <c:v>23836</c:v>
                </c:pt>
                <c:pt idx="397">
                  <c:v>23837</c:v>
                </c:pt>
                <c:pt idx="398">
                  <c:v>23839</c:v>
                </c:pt>
                <c:pt idx="399">
                  <c:v>23841</c:v>
                </c:pt>
                <c:pt idx="400">
                  <c:v>23849</c:v>
                </c:pt>
                <c:pt idx="401">
                  <c:v>23851</c:v>
                </c:pt>
                <c:pt idx="402">
                  <c:v>23876</c:v>
                </c:pt>
                <c:pt idx="403">
                  <c:v>23877</c:v>
                </c:pt>
                <c:pt idx="404">
                  <c:v>23877</c:v>
                </c:pt>
                <c:pt idx="405">
                  <c:v>23878</c:v>
                </c:pt>
                <c:pt idx="406">
                  <c:v>23879</c:v>
                </c:pt>
                <c:pt idx="407">
                  <c:v>23899</c:v>
                </c:pt>
                <c:pt idx="408">
                  <c:v>23902</c:v>
                </c:pt>
                <c:pt idx="409">
                  <c:v>23904</c:v>
                </c:pt>
                <c:pt idx="410">
                  <c:v>23904</c:v>
                </c:pt>
                <c:pt idx="411">
                  <c:v>23904</c:v>
                </c:pt>
                <c:pt idx="412">
                  <c:v>23910</c:v>
                </c:pt>
                <c:pt idx="413">
                  <c:v>23915</c:v>
                </c:pt>
                <c:pt idx="414">
                  <c:v>23919</c:v>
                </c:pt>
                <c:pt idx="415">
                  <c:v>23921</c:v>
                </c:pt>
                <c:pt idx="416">
                  <c:v>23926</c:v>
                </c:pt>
                <c:pt idx="417">
                  <c:v>23927</c:v>
                </c:pt>
                <c:pt idx="418">
                  <c:v>23928</c:v>
                </c:pt>
                <c:pt idx="419">
                  <c:v>23942</c:v>
                </c:pt>
                <c:pt idx="420">
                  <c:v>23951</c:v>
                </c:pt>
                <c:pt idx="421">
                  <c:v>23962</c:v>
                </c:pt>
                <c:pt idx="422">
                  <c:v>23962</c:v>
                </c:pt>
                <c:pt idx="423">
                  <c:v>23980</c:v>
                </c:pt>
                <c:pt idx="424">
                  <c:v>23987</c:v>
                </c:pt>
                <c:pt idx="425">
                  <c:v>23998</c:v>
                </c:pt>
                <c:pt idx="426">
                  <c:v>24033</c:v>
                </c:pt>
                <c:pt idx="427">
                  <c:v>24048</c:v>
                </c:pt>
                <c:pt idx="428">
                  <c:v>24064</c:v>
                </c:pt>
                <c:pt idx="429">
                  <c:v>24117</c:v>
                </c:pt>
                <c:pt idx="430">
                  <c:v>24140</c:v>
                </c:pt>
                <c:pt idx="431">
                  <c:v>24146</c:v>
                </c:pt>
                <c:pt idx="432">
                  <c:v>24151</c:v>
                </c:pt>
                <c:pt idx="433">
                  <c:v>24181</c:v>
                </c:pt>
                <c:pt idx="434">
                  <c:v>24211</c:v>
                </c:pt>
                <c:pt idx="435">
                  <c:v>24227</c:v>
                </c:pt>
                <c:pt idx="436">
                  <c:v>24246</c:v>
                </c:pt>
                <c:pt idx="437">
                  <c:v>24263</c:v>
                </c:pt>
                <c:pt idx="438">
                  <c:v>24276</c:v>
                </c:pt>
                <c:pt idx="439">
                  <c:v>24291</c:v>
                </c:pt>
                <c:pt idx="440">
                  <c:v>24334</c:v>
                </c:pt>
                <c:pt idx="441">
                  <c:v>24366</c:v>
                </c:pt>
                <c:pt idx="442">
                  <c:v>24391</c:v>
                </c:pt>
                <c:pt idx="443">
                  <c:v>24447</c:v>
                </c:pt>
                <c:pt idx="444">
                  <c:v>24532</c:v>
                </c:pt>
                <c:pt idx="445">
                  <c:v>24558</c:v>
                </c:pt>
                <c:pt idx="446">
                  <c:v>24567</c:v>
                </c:pt>
                <c:pt idx="447">
                  <c:v>24617</c:v>
                </c:pt>
                <c:pt idx="448">
                  <c:v>24641</c:v>
                </c:pt>
                <c:pt idx="449">
                  <c:v>24683</c:v>
                </c:pt>
                <c:pt idx="450">
                  <c:v>24712</c:v>
                </c:pt>
                <c:pt idx="451">
                  <c:v>24765</c:v>
                </c:pt>
                <c:pt idx="452">
                  <c:v>24770</c:v>
                </c:pt>
                <c:pt idx="453">
                  <c:v>24777</c:v>
                </c:pt>
                <c:pt idx="454">
                  <c:v>24821</c:v>
                </c:pt>
                <c:pt idx="455">
                  <c:v>24836</c:v>
                </c:pt>
                <c:pt idx="456">
                  <c:v>24867</c:v>
                </c:pt>
                <c:pt idx="457">
                  <c:v>24898</c:v>
                </c:pt>
                <c:pt idx="458">
                  <c:v>24912</c:v>
                </c:pt>
                <c:pt idx="459">
                  <c:v>24950</c:v>
                </c:pt>
                <c:pt idx="460">
                  <c:v>24957</c:v>
                </c:pt>
                <c:pt idx="461">
                  <c:v>24988</c:v>
                </c:pt>
                <c:pt idx="462">
                  <c:v>25010</c:v>
                </c:pt>
                <c:pt idx="463">
                  <c:v>25028</c:v>
                </c:pt>
                <c:pt idx="464">
                  <c:v>25059</c:v>
                </c:pt>
                <c:pt idx="465">
                  <c:v>25089</c:v>
                </c:pt>
                <c:pt idx="466">
                  <c:v>25095</c:v>
                </c:pt>
                <c:pt idx="467">
                  <c:v>25096</c:v>
                </c:pt>
                <c:pt idx="468">
                  <c:v>25114</c:v>
                </c:pt>
                <c:pt idx="469">
                  <c:v>25141</c:v>
                </c:pt>
                <c:pt idx="470">
                  <c:v>25158</c:v>
                </c:pt>
                <c:pt idx="471">
                  <c:v>25166</c:v>
                </c:pt>
                <c:pt idx="472">
                  <c:v>25178</c:v>
                </c:pt>
                <c:pt idx="473">
                  <c:v>25180</c:v>
                </c:pt>
                <c:pt idx="474">
                  <c:v>25183</c:v>
                </c:pt>
                <c:pt idx="475">
                  <c:v>25199</c:v>
                </c:pt>
                <c:pt idx="476">
                  <c:v>25207</c:v>
                </c:pt>
                <c:pt idx="477">
                  <c:v>25210</c:v>
                </c:pt>
                <c:pt idx="478">
                  <c:v>25215</c:v>
                </c:pt>
                <c:pt idx="479">
                  <c:v>25216</c:v>
                </c:pt>
                <c:pt idx="480">
                  <c:v>25221</c:v>
                </c:pt>
                <c:pt idx="481">
                  <c:v>25221</c:v>
                </c:pt>
                <c:pt idx="482">
                  <c:v>25231</c:v>
                </c:pt>
                <c:pt idx="483">
                  <c:v>25238</c:v>
                </c:pt>
                <c:pt idx="484">
                  <c:v>25244</c:v>
                </c:pt>
                <c:pt idx="485">
                  <c:v>25246</c:v>
                </c:pt>
                <c:pt idx="486">
                  <c:v>25256</c:v>
                </c:pt>
                <c:pt idx="487">
                  <c:v>25259</c:v>
                </c:pt>
                <c:pt idx="488">
                  <c:v>25259</c:v>
                </c:pt>
                <c:pt idx="489">
                  <c:v>25263</c:v>
                </c:pt>
                <c:pt idx="490">
                  <c:v>25269</c:v>
                </c:pt>
                <c:pt idx="491">
                  <c:v>25276</c:v>
                </c:pt>
                <c:pt idx="492">
                  <c:v>25283</c:v>
                </c:pt>
                <c:pt idx="493">
                  <c:v>25289</c:v>
                </c:pt>
                <c:pt idx="494">
                  <c:v>25290</c:v>
                </c:pt>
                <c:pt idx="495">
                  <c:v>25292</c:v>
                </c:pt>
                <c:pt idx="496">
                  <c:v>25293</c:v>
                </c:pt>
                <c:pt idx="497">
                  <c:v>25301</c:v>
                </c:pt>
                <c:pt idx="498">
                  <c:v>25305</c:v>
                </c:pt>
                <c:pt idx="499">
                  <c:v>25308</c:v>
                </c:pt>
                <c:pt idx="500">
                  <c:v>25316</c:v>
                </c:pt>
                <c:pt idx="501">
                  <c:v>25317</c:v>
                </c:pt>
                <c:pt idx="502">
                  <c:v>25321</c:v>
                </c:pt>
                <c:pt idx="503">
                  <c:v>25342</c:v>
                </c:pt>
                <c:pt idx="504">
                  <c:v>25355</c:v>
                </c:pt>
                <c:pt idx="505">
                  <c:v>25366</c:v>
                </c:pt>
                <c:pt idx="506">
                  <c:v>25388</c:v>
                </c:pt>
                <c:pt idx="507">
                  <c:v>25404</c:v>
                </c:pt>
                <c:pt idx="508">
                  <c:v>25436</c:v>
                </c:pt>
                <c:pt idx="509">
                  <c:v>25442</c:v>
                </c:pt>
                <c:pt idx="510">
                  <c:v>25487</c:v>
                </c:pt>
                <c:pt idx="511">
                  <c:v>25525</c:v>
                </c:pt>
                <c:pt idx="512">
                  <c:v>25564</c:v>
                </c:pt>
                <c:pt idx="513">
                  <c:v>25589</c:v>
                </c:pt>
                <c:pt idx="514">
                  <c:v>25636</c:v>
                </c:pt>
                <c:pt idx="515">
                  <c:v>25640</c:v>
                </c:pt>
                <c:pt idx="516">
                  <c:v>25646</c:v>
                </c:pt>
                <c:pt idx="517">
                  <c:v>25688</c:v>
                </c:pt>
                <c:pt idx="518">
                  <c:v>25741</c:v>
                </c:pt>
                <c:pt idx="519">
                  <c:v>25774</c:v>
                </c:pt>
                <c:pt idx="520">
                  <c:v>25795</c:v>
                </c:pt>
                <c:pt idx="521">
                  <c:v>25852</c:v>
                </c:pt>
                <c:pt idx="522">
                  <c:v>25872</c:v>
                </c:pt>
                <c:pt idx="523">
                  <c:v>25887</c:v>
                </c:pt>
                <c:pt idx="524">
                  <c:v>25976</c:v>
                </c:pt>
                <c:pt idx="525">
                  <c:v>26027</c:v>
                </c:pt>
                <c:pt idx="526">
                  <c:v>26056</c:v>
                </c:pt>
                <c:pt idx="527">
                  <c:v>26096</c:v>
                </c:pt>
                <c:pt idx="528">
                  <c:v>26161</c:v>
                </c:pt>
                <c:pt idx="529">
                  <c:v>26181</c:v>
                </c:pt>
                <c:pt idx="530">
                  <c:v>26197</c:v>
                </c:pt>
                <c:pt idx="531">
                  <c:v>26259</c:v>
                </c:pt>
                <c:pt idx="532">
                  <c:v>26313</c:v>
                </c:pt>
                <c:pt idx="533">
                  <c:v>26363</c:v>
                </c:pt>
                <c:pt idx="534">
                  <c:v>26444</c:v>
                </c:pt>
                <c:pt idx="535">
                  <c:v>26482</c:v>
                </c:pt>
                <c:pt idx="536">
                  <c:v>26490</c:v>
                </c:pt>
                <c:pt idx="537">
                  <c:v>26503</c:v>
                </c:pt>
                <c:pt idx="538">
                  <c:v>26541</c:v>
                </c:pt>
                <c:pt idx="539">
                  <c:v>26603</c:v>
                </c:pt>
                <c:pt idx="540">
                  <c:v>26650</c:v>
                </c:pt>
                <c:pt idx="541">
                  <c:v>26672</c:v>
                </c:pt>
                <c:pt idx="542">
                  <c:v>26712</c:v>
                </c:pt>
                <c:pt idx="543">
                  <c:v>26722</c:v>
                </c:pt>
                <c:pt idx="544">
                  <c:v>26727</c:v>
                </c:pt>
                <c:pt idx="545">
                  <c:v>26768</c:v>
                </c:pt>
                <c:pt idx="546">
                  <c:v>26792</c:v>
                </c:pt>
                <c:pt idx="547">
                  <c:v>26825</c:v>
                </c:pt>
                <c:pt idx="548">
                  <c:v>26840</c:v>
                </c:pt>
                <c:pt idx="549">
                  <c:v>26858</c:v>
                </c:pt>
                <c:pt idx="550">
                  <c:v>26868</c:v>
                </c:pt>
                <c:pt idx="551">
                  <c:v>26875</c:v>
                </c:pt>
                <c:pt idx="552">
                  <c:v>26906</c:v>
                </c:pt>
                <c:pt idx="553">
                  <c:v>26959</c:v>
                </c:pt>
                <c:pt idx="554">
                  <c:v>26981</c:v>
                </c:pt>
                <c:pt idx="555">
                  <c:v>27004</c:v>
                </c:pt>
                <c:pt idx="556">
                  <c:v>27025</c:v>
                </c:pt>
                <c:pt idx="557">
                  <c:v>27028</c:v>
                </c:pt>
                <c:pt idx="558">
                  <c:v>27031</c:v>
                </c:pt>
                <c:pt idx="559">
                  <c:v>27046</c:v>
                </c:pt>
                <c:pt idx="560">
                  <c:v>27076</c:v>
                </c:pt>
                <c:pt idx="561">
                  <c:v>27094</c:v>
                </c:pt>
                <c:pt idx="562">
                  <c:v>27108</c:v>
                </c:pt>
                <c:pt idx="563">
                  <c:v>271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C3-4558-95C0-65D81E5CAFC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65</c:f>
              <c:numCache>
                <c:formatCode>m/d/yyyy</c:formatCode>
                <c:ptCount val="56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</c:numCache>
            </c:numRef>
          </c:cat>
          <c:val>
            <c:numRef>
              <c:f>List1!$C$2:$C$565</c:f>
              <c:numCache>
                <c:formatCode>General</c:formatCode>
                <c:ptCount val="564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7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7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2</c:v>
                </c:pt>
                <c:pt idx="13">
                  <c:v>16</c:v>
                </c:pt>
                <c:pt idx="14">
                  <c:v>18</c:v>
                </c:pt>
                <c:pt idx="15">
                  <c:v>20</c:v>
                </c:pt>
                <c:pt idx="16">
                  <c:v>22</c:v>
                </c:pt>
                <c:pt idx="17">
                  <c:v>24</c:v>
                </c:pt>
                <c:pt idx="18">
                  <c:v>26</c:v>
                </c:pt>
                <c:pt idx="19">
                  <c:v>30</c:v>
                </c:pt>
                <c:pt idx="20">
                  <c:v>36</c:v>
                </c:pt>
                <c:pt idx="21">
                  <c:v>43</c:v>
                </c:pt>
                <c:pt idx="22">
                  <c:v>44</c:v>
                </c:pt>
                <c:pt idx="23">
                  <c:v>48</c:v>
                </c:pt>
                <c:pt idx="24">
                  <c:v>60</c:v>
                </c:pt>
                <c:pt idx="25">
                  <c:v>67</c:v>
                </c:pt>
                <c:pt idx="26">
                  <c:v>69</c:v>
                </c:pt>
                <c:pt idx="27">
                  <c:v>75</c:v>
                </c:pt>
                <c:pt idx="28">
                  <c:v>101</c:v>
                </c:pt>
                <c:pt idx="29">
                  <c:v>111</c:v>
                </c:pt>
                <c:pt idx="30">
                  <c:v>141</c:v>
                </c:pt>
                <c:pt idx="31">
                  <c:v>239</c:v>
                </c:pt>
                <c:pt idx="32">
                  <c:v>272</c:v>
                </c:pt>
                <c:pt idx="33">
                  <c:v>304</c:v>
                </c:pt>
                <c:pt idx="34">
                  <c:v>409</c:v>
                </c:pt>
                <c:pt idx="35">
                  <c:v>460</c:v>
                </c:pt>
                <c:pt idx="36">
                  <c:v>503</c:v>
                </c:pt>
                <c:pt idx="37">
                  <c:v>591</c:v>
                </c:pt>
                <c:pt idx="38">
                  <c:v>684</c:v>
                </c:pt>
                <c:pt idx="39">
                  <c:v>735</c:v>
                </c:pt>
                <c:pt idx="40">
                  <c:v>761</c:v>
                </c:pt>
                <c:pt idx="41">
                  <c:v>939</c:v>
                </c:pt>
                <c:pt idx="42">
                  <c:v>1102</c:v>
                </c:pt>
                <c:pt idx="43">
                  <c:v>1301</c:v>
                </c:pt>
                <c:pt idx="44">
                  <c:v>1514</c:v>
                </c:pt>
                <c:pt idx="45">
                  <c:v>1731</c:v>
                </c:pt>
                <c:pt idx="46">
                  <c:v>1839</c:v>
                </c:pt>
                <c:pt idx="47">
                  <c:v>1890</c:v>
                </c:pt>
                <c:pt idx="48">
                  <c:v>2096</c:v>
                </c:pt>
                <c:pt idx="49">
                  <c:v>2301</c:v>
                </c:pt>
                <c:pt idx="50">
                  <c:v>2576</c:v>
                </c:pt>
                <c:pt idx="51">
                  <c:v>2818</c:v>
                </c:pt>
                <c:pt idx="52">
                  <c:v>3168</c:v>
                </c:pt>
                <c:pt idx="53">
                  <c:v>3358</c:v>
                </c:pt>
                <c:pt idx="54">
                  <c:v>3450</c:v>
                </c:pt>
                <c:pt idx="55">
                  <c:v>3841</c:v>
                </c:pt>
                <c:pt idx="56">
                  <c:v>4264</c:v>
                </c:pt>
                <c:pt idx="57">
                  <c:v>4403</c:v>
                </c:pt>
                <c:pt idx="58">
                  <c:v>4890</c:v>
                </c:pt>
                <c:pt idx="59">
                  <c:v>5237</c:v>
                </c:pt>
                <c:pt idx="60">
                  <c:v>5423</c:v>
                </c:pt>
                <c:pt idx="61">
                  <c:v>5544</c:v>
                </c:pt>
                <c:pt idx="62">
                  <c:v>5862</c:v>
                </c:pt>
                <c:pt idx="63">
                  <c:v>6108</c:v>
                </c:pt>
                <c:pt idx="64">
                  <c:v>6454</c:v>
                </c:pt>
                <c:pt idx="65">
                  <c:v>6748</c:v>
                </c:pt>
                <c:pt idx="66">
                  <c:v>6996</c:v>
                </c:pt>
                <c:pt idx="67">
                  <c:v>7118</c:v>
                </c:pt>
                <c:pt idx="68">
                  <c:v>7169</c:v>
                </c:pt>
                <c:pt idx="69">
                  <c:v>7377</c:v>
                </c:pt>
                <c:pt idx="70">
                  <c:v>7591</c:v>
                </c:pt>
                <c:pt idx="71">
                  <c:v>7869</c:v>
                </c:pt>
                <c:pt idx="72">
                  <c:v>8117</c:v>
                </c:pt>
                <c:pt idx="73">
                  <c:v>8328</c:v>
                </c:pt>
                <c:pt idx="74">
                  <c:v>8406</c:v>
                </c:pt>
                <c:pt idx="75">
                  <c:v>8440</c:v>
                </c:pt>
                <c:pt idx="76">
                  <c:v>8644</c:v>
                </c:pt>
                <c:pt idx="77">
                  <c:v>8698</c:v>
                </c:pt>
                <c:pt idx="78">
                  <c:v>8867</c:v>
                </c:pt>
                <c:pt idx="79">
                  <c:v>9006</c:v>
                </c:pt>
                <c:pt idx="80">
                  <c:v>9135</c:v>
                </c:pt>
                <c:pt idx="81">
                  <c:v>9176</c:v>
                </c:pt>
                <c:pt idx="82">
                  <c:v>9196</c:v>
                </c:pt>
                <c:pt idx="83">
                  <c:v>9349</c:v>
                </c:pt>
                <c:pt idx="84">
                  <c:v>9461</c:v>
                </c:pt>
                <c:pt idx="85">
                  <c:v>9559</c:v>
                </c:pt>
                <c:pt idx="86">
                  <c:v>9620</c:v>
                </c:pt>
                <c:pt idx="87">
                  <c:v>9704</c:v>
                </c:pt>
                <c:pt idx="88">
                  <c:v>9727</c:v>
                </c:pt>
                <c:pt idx="89">
                  <c:v>9743</c:v>
                </c:pt>
                <c:pt idx="90">
                  <c:v>9859</c:v>
                </c:pt>
                <c:pt idx="91">
                  <c:v>9951</c:v>
                </c:pt>
                <c:pt idx="92">
                  <c:v>10027</c:v>
                </c:pt>
                <c:pt idx="93">
                  <c:v>10091</c:v>
                </c:pt>
                <c:pt idx="94">
                  <c:v>10185</c:v>
                </c:pt>
                <c:pt idx="95">
                  <c:v>10227</c:v>
                </c:pt>
                <c:pt idx="96">
                  <c:v>10255</c:v>
                </c:pt>
                <c:pt idx="97">
                  <c:v>10377</c:v>
                </c:pt>
                <c:pt idx="98">
                  <c:v>10457</c:v>
                </c:pt>
                <c:pt idx="99">
                  <c:v>10523</c:v>
                </c:pt>
                <c:pt idx="100">
                  <c:v>10586</c:v>
                </c:pt>
                <c:pt idx="101">
                  <c:v>10666</c:v>
                </c:pt>
                <c:pt idx="102">
                  <c:v>10687</c:v>
                </c:pt>
                <c:pt idx="103">
                  <c:v>10705</c:v>
                </c:pt>
                <c:pt idx="104">
                  <c:v>10848</c:v>
                </c:pt>
                <c:pt idx="105">
                  <c:v>10921</c:v>
                </c:pt>
                <c:pt idx="106">
                  <c:v>11019</c:v>
                </c:pt>
                <c:pt idx="107">
                  <c:v>11075</c:v>
                </c:pt>
                <c:pt idx="108">
                  <c:v>11164</c:v>
                </c:pt>
                <c:pt idx="109">
                  <c:v>11196</c:v>
                </c:pt>
                <c:pt idx="110">
                  <c:v>11225</c:v>
                </c:pt>
                <c:pt idx="111">
                  <c:v>11394</c:v>
                </c:pt>
                <c:pt idx="112">
                  <c:v>11512</c:v>
                </c:pt>
                <c:pt idx="113">
                  <c:v>11641</c:v>
                </c:pt>
                <c:pt idx="114">
                  <c:v>11673</c:v>
                </c:pt>
                <c:pt idx="115">
                  <c:v>11724</c:v>
                </c:pt>
                <c:pt idx="116">
                  <c:v>11778</c:v>
                </c:pt>
                <c:pt idx="117">
                  <c:v>11827</c:v>
                </c:pt>
                <c:pt idx="118">
                  <c:v>12021</c:v>
                </c:pt>
                <c:pt idx="119">
                  <c:v>12168</c:v>
                </c:pt>
                <c:pt idx="120">
                  <c:v>12282</c:v>
                </c:pt>
                <c:pt idx="121">
                  <c:v>12376</c:v>
                </c:pt>
                <c:pt idx="122">
                  <c:v>12410</c:v>
                </c:pt>
                <c:pt idx="123">
                  <c:v>12476</c:v>
                </c:pt>
                <c:pt idx="124">
                  <c:v>12514</c:v>
                </c:pt>
                <c:pt idx="125">
                  <c:v>12819</c:v>
                </c:pt>
                <c:pt idx="126">
                  <c:v>12969</c:v>
                </c:pt>
                <c:pt idx="127">
                  <c:v>13092</c:v>
                </c:pt>
                <c:pt idx="128">
                  <c:v>13202</c:v>
                </c:pt>
                <c:pt idx="129">
                  <c:v>13336</c:v>
                </c:pt>
                <c:pt idx="130">
                  <c:v>13397</c:v>
                </c:pt>
                <c:pt idx="131">
                  <c:v>13424</c:v>
                </c:pt>
                <c:pt idx="132">
                  <c:v>13676</c:v>
                </c:pt>
                <c:pt idx="133">
                  <c:v>13777</c:v>
                </c:pt>
                <c:pt idx="134">
                  <c:v>13890</c:v>
                </c:pt>
                <c:pt idx="135">
                  <c:v>13950</c:v>
                </c:pt>
                <c:pt idx="136">
                  <c:v>14020</c:v>
                </c:pt>
                <c:pt idx="137">
                  <c:v>14056</c:v>
                </c:pt>
                <c:pt idx="138">
                  <c:v>14086</c:v>
                </c:pt>
                <c:pt idx="139">
                  <c:v>14220</c:v>
                </c:pt>
                <c:pt idx="140">
                  <c:v>14297</c:v>
                </c:pt>
                <c:pt idx="141">
                  <c:v>14371</c:v>
                </c:pt>
                <c:pt idx="142">
                  <c:v>14441</c:v>
                </c:pt>
                <c:pt idx="143">
                  <c:v>14524</c:v>
                </c:pt>
                <c:pt idx="144">
                  <c:v>14552</c:v>
                </c:pt>
                <c:pt idx="145">
                  <c:v>14566</c:v>
                </c:pt>
                <c:pt idx="146">
                  <c:v>14659</c:v>
                </c:pt>
                <c:pt idx="147">
                  <c:v>14738</c:v>
                </c:pt>
                <c:pt idx="148">
                  <c:v>14798</c:v>
                </c:pt>
                <c:pt idx="149">
                  <c:v>14835</c:v>
                </c:pt>
                <c:pt idx="150">
                  <c:v>14887</c:v>
                </c:pt>
                <c:pt idx="151">
                  <c:v>14918</c:v>
                </c:pt>
                <c:pt idx="152">
                  <c:v>14934</c:v>
                </c:pt>
                <c:pt idx="153">
                  <c:v>15018</c:v>
                </c:pt>
                <c:pt idx="154">
                  <c:v>15096</c:v>
                </c:pt>
                <c:pt idx="155">
                  <c:v>15156</c:v>
                </c:pt>
                <c:pt idx="156">
                  <c:v>15204</c:v>
                </c:pt>
                <c:pt idx="157">
                  <c:v>15259</c:v>
                </c:pt>
                <c:pt idx="158">
                  <c:v>15273</c:v>
                </c:pt>
                <c:pt idx="159">
                  <c:v>15291</c:v>
                </c:pt>
                <c:pt idx="160">
                  <c:v>15366</c:v>
                </c:pt>
                <c:pt idx="161">
                  <c:v>15388</c:v>
                </c:pt>
                <c:pt idx="162">
                  <c:v>15422</c:v>
                </c:pt>
                <c:pt idx="163">
                  <c:v>15464</c:v>
                </c:pt>
                <c:pt idx="164">
                  <c:v>15505</c:v>
                </c:pt>
                <c:pt idx="165">
                  <c:v>15520</c:v>
                </c:pt>
                <c:pt idx="166">
                  <c:v>15539</c:v>
                </c:pt>
                <c:pt idx="167">
                  <c:v>15607</c:v>
                </c:pt>
                <c:pt idx="168">
                  <c:v>15641</c:v>
                </c:pt>
                <c:pt idx="169">
                  <c:v>15679</c:v>
                </c:pt>
                <c:pt idx="170">
                  <c:v>15716</c:v>
                </c:pt>
                <c:pt idx="171">
                  <c:v>15759</c:v>
                </c:pt>
                <c:pt idx="172">
                  <c:v>15767</c:v>
                </c:pt>
                <c:pt idx="173">
                  <c:v>15790</c:v>
                </c:pt>
                <c:pt idx="174">
                  <c:v>15872</c:v>
                </c:pt>
                <c:pt idx="175">
                  <c:v>15920</c:v>
                </c:pt>
                <c:pt idx="176">
                  <c:v>15957</c:v>
                </c:pt>
                <c:pt idx="177">
                  <c:v>15993</c:v>
                </c:pt>
                <c:pt idx="178">
                  <c:v>16041</c:v>
                </c:pt>
                <c:pt idx="179">
                  <c:v>16053</c:v>
                </c:pt>
                <c:pt idx="180">
                  <c:v>16063</c:v>
                </c:pt>
                <c:pt idx="181">
                  <c:v>16130</c:v>
                </c:pt>
                <c:pt idx="182">
                  <c:v>16174</c:v>
                </c:pt>
                <c:pt idx="183">
                  <c:v>16232</c:v>
                </c:pt>
                <c:pt idx="184">
                  <c:v>16280</c:v>
                </c:pt>
                <c:pt idx="185">
                  <c:v>16318</c:v>
                </c:pt>
                <c:pt idx="186">
                  <c:v>16334</c:v>
                </c:pt>
                <c:pt idx="187">
                  <c:v>16348</c:v>
                </c:pt>
                <c:pt idx="188">
                  <c:v>16414</c:v>
                </c:pt>
                <c:pt idx="189">
                  <c:v>16456</c:v>
                </c:pt>
                <c:pt idx="190">
                  <c:v>16487</c:v>
                </c:pt>
                <c:pt idx="191">
                  <c:v>16517</c:v>
                </c:pt>
                <c:pt idx="192">
                  <c:v>16538</c:v>
                </c:pt>
                <c:pt idx="193">
                  <c:v>16550</c:v>
                </c:pt>
                <c:pt idx="194">
                  <c:v>16557</c:v>
                </c:pt>
                <c:pt idx="195">
                  <c:v>16598</c:v>
                </c:pt>
                <c:pt idx="196">
                  <c:v>16625</c:v>
                </c:pt>
                <c:pt idx="197">
                  <c:v>16652</c:v>
                </c:pt>
                <c:pt idx="198">
                  <c:v>16668</c:v>
                </c:pt>
                <c:pt idx="199">
                  <c:v>16692</c:v>
                </c:pt>
                <c:pt idx="200">
                  <c:v>16694</c:v>
                </c:pt>
                <c:pt idx="201">
                  <c:v>16699</c:v>
                </c:pt>
                <c:pt idx="202">
                  <c:v>16738</c:v>
                </c:pt>
                <c:pt idx="203">
                  <c:v>16757</c:v>
                </c:pt>
                <c:pt idx="204">
                  <c:v>16768</c:v>
                </c:pt>
                <c:pt idx="205">
                  <c:v>16779</c:v>
                </c:pt>
                <c:pt idx="206">
                  <c:v>16797</c:v>
                </c:pt>
                <c:pt idx="207">
                  <c:v>16800</c:v>
                </c:pt>
                <c:pt idx="208">
                  <c:v>16803</c:v>
                </c:pt>
                <c:pt idx="209">
                  <c:v>16828</c:v>
                </c:pt>
                <c:pt idx="210">
                  <c:v>16848</c:v>
                </c:pt>
                <c:pt idx="211">
                  <c:v>16862</c:v>
                </c:pt>
                <c:pt idx="212">
                  <c:v>16875</c:v>
                </c:pt>
                <c:pt idx="213">
                  <c:v>16880</c:v>
                </c:pt>
                <c:pt idx="214">
                  <c:v>16884</c:v>
                </c:pt>
                <c:pt idx="215">
                  <c:v>16886</c:v>
                </c:pt>
                <c:pt idx="216">
                  <c:v>16894</c:v>
                </c:pt>
                <c:pt idx="217">
                  <c:v>16916</c:v>
                </c:pt>
                <c:pt idx="218">
                  <c:v>16933</c:v>
                </c:pt>
                <c:pt idx="219">
                  <c:v>16951</c:v>
                </c:pt>
                <c:pt idx="220">
                  <c:v>16959</c:v>
                </c:pt>
                <c:pt idx="221">
                  <c:v>16966</c:v>
                </c:pt>
                <c:pt idx="222">
                  <c:v>16967</c:v>
                </c:pt>
                <c:pt idx="223">
                  <c:v>16976</c:v>
                </c:pt>
                <c:pt idx="224">
                  <c:v>16984</c:v>
                </c:pt>
                <c:pt idx="225">
                  <c:v>16989</c:v>
                </c:pt>
                <c:pt idx="226">
                  <c:v>16996</c:v>
                </c:pt>
                <c:pt idx="227">
                  <c:v>17003</c:v>
                </c:pt>
                <c:pt idx="228">
                  <c:v>17004</c:v>
                </c:pt>
                <c:pt idx="229">
                  <c:v>17005</c:v>
                </c:pt>
                <c:pt idx="230">
                  <c:v>17018</c:v>
                </c:pt>
                <c:pt idx="231">
                  <c:v>17025</c:v>
                </c:pt>
                <c:pt idx="232">
                  <c:v>17032</c:v>
                </c:pt>
                <c:pt idx="233">
                  <c:v>17035</c:v>
                </c:pt>
                <c:pt idx="234">
                  <c:v>17038</c:v>
                </c:pt>
                <c:pt idx="235">
                  <c:v>17039</c:v>
                </c:pt>
                <c:pt idx="236">
                  <c:v>17039</c:v>
                </c:pt>
                <c:pt idx="237">
                  <c:v>17048</c:v>
                </c:pt>
                <c:pt idx="238">
                  <c:v>17057</c:v>
                </c:pt>
                <c:pt idx="239">
                  <c:v>17061</c:v>
                </c:pt>
                <c:pt idx="240">
                  <c:v>17064</c:v>
                </c:pt>
                <c:pt idx="241">
                  <c:v>17070</c:v>
                </c:pt>
                <c:pt idx="242">
                  <c:v>17071</c:v>
                </c:pt>
                <c:pt idx="243">
                  <c:v>17073</c:v>
                </c:pt>
                <c:pt idx="244">
                  <c:v>17077</c:v>
                </c:pt>
                <c:pt idx="245">
                  <c:v>17079</c:v>
                </c:pt>
                <c:pt idx="246">
                  <c:v>17080</c:v>
                </c:pt>
                <c:pt idx="247">
                  <c:v>17085</c:v>
                </c:pt>
                <c:pt idx="248">
                  <c:v>17087</c:v>
                </c:pt>
                <c:pt idx="249">
                  <c:v>17089</c:v>
                </c:pt>
                <c:pt idx="250">
                  <c:v>17089</c:v>
                </c:pt>
                <c:pt idx="251">
                  <c:v>17092</c:v>
                </c:pt>
                <c:pt idx="252">
                  <c:v>17096</c:v>
                </c:pt>
                <c:pt idx="253">
                  <c:v>17096</c:v>
                </c:pt>
                <c:pt idx="254">
                  <c:v>17098</c:v>
                </c:pt>
                <c:pt idx="255">
                  <c:v>17099</c:v>
                </c:pt>
                <c:pt idx="256">
                  <c:v>17099</c:v>
                </c:pt>
                <c:pt idx="257">
                  <c:v>17099</c:v>
                </c:pt>
                <c:pt idx="258">
                  <c:v>17105</c:v>
                </c:pt>
                <c:pt idx="259">
                  <c:v>17110</c:v>
                </c:pt>
                <c:pt idx="260">
                  <c:v>17112</c:v>
                </c:pt>
                <c:pt idx="261">
                  <c:v>17116</c:v>
                </c:pt>
                <c:pt idx="262">
                  <c:v>17117</c:v>
                </c:pt>
                <c:pt idx="263">
                  <c:v>17117</c:v>
                </c:pt>
                <c:pt idx="264">
                  <c:v>17117</c:v>
                </c:pt>
                <c:pt idx="265">
                  <c:v>17119</c:v>
                </c:pt>
                <c:pt idx="266">
                  <c:v>17120</c:v>
                </c:pt>
                <c:pt idx="267">
                  <c:v>17121</c:v>
                </c:pt>
                <c:pt idx="268">
                  <c:v>17123</c:v>
                </c:pt>
                <c:pt idx="269">
                  <c:v>17123</c:v>
                </c:pt>
                <c:pt idx="270">
                  <c:v>17123</c:v>
                </c:pt>
                <c:pt idx="271">
                  <c:v>17123</c:v>
                </c:pt>
                <c:pt idx="272">
                  <c:v>17124</c:v>
                </c:pt>
                <c:pt idx="273">
                  <c:v>17124</c:v>
                </c:pt>
                <c:pt idx="274">
                  <c:v>17124</c:v>
                </c:pt>
                <c:pt idx="275">
                  <c:v>17126</c:v>
                </c:pt>
                <c:pt idx="276">
                  <c:v>17126</c:v>
                </c:pt>
                <c:pt idx="277">
                  <c:v>17126</c:v>
                </c:pt>
                <c:pt idx="278">
                  <c:v>17126</c:v>
                </c:pt>
                <c:pt idx="279">
                  <c:v>17126</c:v>
                </c:pt>
                <c:pt idx="280">
                  <c:v>17126</c:v>
                </c:pt>
                <c:pt idx="281">
                  <c:v>17126</c:v>
                </c:pt>
                <c:pt idx="282">
                  <c:v>17126</c:v>
                </c:pt>
                <c:pt idx="283">
                  <c:v>17126</c:v>
                </c:pt>
                <c:pt idx="284">
                  <c:v>17126</c:v>
                </c:pt>
                <c:pt idx="285">
                  <c:v>17126</c:v>
                </c:pt>
                <c:pt idx="286">
                  <c:v>17126</c:v>
                </c:pt>
                <c:pt idx="287">
                  <c:v>17126</c:v>
                </c:pt>
                <c:pt idx="288">
                  <c:v>17126</c:v>
                </c:pt>
                <c:pt idx="289">
                  <c:v>17126</c:v>
                </c:pt>
                <c:pt idx="290">
                  <c:v>17126</c:v>
                </c:pt>
                <c:pt idx="291">
                  <c:v>17126</c:v>
                </c:pt>
                <c:pt idx="292">
                  <c:v>17126</c:v>
                </c:pt>
                <c:pt idx="293">
                  <c:v>17126</c:v>
                </c:pt>
                <c:pt idx="294">
                  <c:v>17126</c:v>
                </c:pt>
                <c:pt idx="295">
                  <c:v>17126</c:v>
                </c:pt>
                <c:pt idx="296">
                  <c:v>17127</c:v>
                </c:pt>
                <c:pt idx="297">
                  <c:v>17128</c:v>
                </c:pt>
                <c:pt idx="298">
                  <c:v>17128</c:v>
                </c:pt>
                <c:pt idx="299">
                  <c:v>17128</c:v>
                </c:pt>
                <c:pt idx="300">
                  <c:v>17129</c:v>
                </c:pt>
                <c:pt idx="301">
                  <c:v>17129</c:v>
                </c:pt>
                <c:pt idx="302">
                  <c:v>17130</c:v>
                </c:pt>
                <c:pt idx="303">
                  <c:v>17130</c:v>
                </c:pt>
                <c:pt idx="304">
                  <c:v>17130</c:v>
                </c:pt>
                <c:pt idx="305">
                  <c:v>17130</c:v>
                </c:pt>
                <c:pt idx="306">
                  <c:v>17130</c:v>
                </c:pt>
                <c:pt idx="307">
                  <c:v>17130</c:v>
                </c:pt>
                <c:pt idx="308">
                  <c:v>17130</c:v>
                </c:pt>
                <c:pt idx="309">
                  <c:v>17131</c:v>
                </c:pt>
                <c:pt idx="310">
                  <c:v>17132</c:v>
                </c:pt>
                <c:pt idx="311">
                  <c:v>17132</c:v>
                </c:pt>
                <c:pt idx="312">
                  <c:v>17132</c:v>
                </c:pt>
                <c:pt idx="313">
                  <c:v>17133</c:v>
                </c:pt>
                <c:pt idx="314">
                  <c:v>17133</c:v>
                </c:pt>
                <c:pt idx="315">
                  <c:v>17133</c:v>
                </c:pt>
                <c:pt idx="316">
                  <c:v>17133</c:v>
                </c:pt>
                <c:pt idx="317">
                  <c:v>17133</c:v>
                </c:pt>
                <c:pt idx="318">
                  <c:v>17133</c:v>
                </c:pt>
                <c:pt idx="319">
                  <c:v>17133</c:v>
                </c:pt>
                <c:pt idx="320">
                  <c:v>17133</c:v>
                </c:pt>
                <c:pt idx="321">
                  <c:v>17133</c:v>
                </c:pt>
                <c:pt idx="322">
                  <c:v>17133</c:v>
                </c:pt>
                <c:pt idx="323">
                  <c:v>17134</c:v>
                </c:pt>
                <c:pt idx="324">
                  <c:v>17134</c:v>
                </c:pt>
                <c:pt idx="325">
                  <c:v>17134</c:v>
                </c:pt>
                <c:pt idx="326">
                  <c:v>17134</c:v>
                </c:pt>
                <c:pt idx="327">
                  <c:v>17134</c:v>
                </c:pt>
                <c:pt idx="328">
                  <c:v>17134</c:v>
                </c:pt>
                <c:pt idx="329">
                  <c:v>17135</c:v>
                </c:pt>
                <c:pt idx="330">
                  <c:v>17137</c:v>
                </c:pt>
                <c:pt idx="331">
                  <c:v>17137</c:v>
                </c:pt>
                <c:pt idx="332">
                  <c:v>17137</c:v>
                </c:pt>
                <c:pt idx="333">
                  <c:v>17137</c:v>
                </c:pt>
                <c:pt idx="334">
                  <c:v>17137</c:v>
                </c:pt>
                <c:pt idx="335">
                  <c:v>17137</c:v>
                </c:pt>
                <c:pt idx="336">
                  <c:v>17137</c:v>
                </c:pt>
                <c:pt idx="337">
                  <c:v>17137</c:v>
                </c:pt>
                <c:pt idx="338">
                  <c:v>17137</c:v>
                </c:pt>
                <c:pt idx="339">
                  <c:v>17137</c:v>
                </c:pt>
                <c:pt idx="340">
                  <c:v>17137</c:v>
                </c:pt>
                <c:pt idx="341">
                  <c:v>17138</c:v>
                </c:pt>
                <c:pt idx="342">
                  <c:v>17138</c:v>
                </c:pt>
                <c:pt idx="343">
                  <c:v>17138</c:v>
                </c:pt>
                <c:pt idx="344">
                  <c:v>17139</c:v>
                </c:pt>
                <c:pt idx="345">
                  <c:v>17139</c:v>
                </c:pt>
                <c:pt idx="346">
                  <c:v>17139</c:v>
                </c:pt>
                <c:pt idx="347">
                  <c:v>17139</c:v>
                </c:pt>
                <c:pt idx="348">
                  <c:v>17140</c:v>
                </c:pt>
                <c:pt idx="349">
                  <c:v>17140</c:v>
                </c:pt>
                <c:pt idx="350">
                  <c:v>17140</c:v>
                </c:pt>
                <c:pt idx="351">
                  <c:v>17140</c:v>
                </c:pt>
                <c:pt idx="352">
                  <c:v>17140</c:v>
                </c:pt>
                <c:pt idx="353">
                  <c:v>17140</c:v>
                </c:pt>
                <c:pt idx="354">
                  <c:v>17140</c:v>
                </c:pt>
                <c:pt idx="355">
                  <c:v>17140</c:v>
                </c:pt>
                <c:pt idx="356">
                  <c:v>17141</c:v>
                </c:pt>
                <c:pt idx="357">
                  <c:v>17141</c:v>
                </c:pt>
                <c:pt idx="358">
                  <c:v>17141</c:v>
                </c:pt>
                <c:pt idx="359">
                  <c:v>17142</c:v>
                </c:pt>
                <c:pt idx="360">
                  <c:v>17143</c:v>
                </c:pt>
                <c:pt idx="361">
                  <c:v>17144</c:v>
                </c:pt>
                <c:pt idx="362">
                  <c:v>17145</c:v>
                </c:pt>
                <c:pt idx="363">
                  <c:v>17145</c:v>
                </c:pt>
                <c:pt idx="364">
                  <c:v>17145</c:v>
                </c:pt>
                <c:pt idx="365">
                  <c:v>17150</c:v>
                </c:pt>
                <c:pt idx="366">
                  <c:v>17151</c:v>
                </c:pt>
                <c:pt idx="367">
                  <c:v>17152</c:v>
                </c:pt>
                <c:pt idx="368">
                  <c:v>17152</c:v>
                </c:pt>
                <c:pt idx="369">
                  <c:v>17152</c:v>
                </c:pt>
                <c:pt idx="370">
                  <c:v>17153</c:v>
                </c:pt>
                <c:pt idx="371">
                  <c:v>17155</c:v>
                </c:pt>
                <c:pt idx="372">
                  <c:v>17156</c:v>
                </c:pt>
                <c:pt idx="373">
                  <c:v>17157</c:v>
                </c:pt>
                <c:pt idx="374">
                  <c:v>17158</c:v>
                </c:pt>
                <c:pt idx="375">
                  <c:v>17158</c:v>
                </c:pt>
                <c:pt idx="376">
                  <c:v>17159</c:v>
                </c:pt>
                <c:pt idx="377">
                  <c:v>17159</c:v>
                </c:pt>
                <c:pt idx="378">
                  <c:v>17160</c:v>
                </c:pt>
                <c:pt idx="379">
                  <c:v>17160</c:v>
                </c:pt>
                <c:pt idx="380">
                  <c:v>17160</c:v>
                </c:pt>
                <c:pt idx="381">
                  <c:v>17160</c:v>
                </c:pt>
                <c:pt idx="382">
                  <c:v>17161</c:v>
                </c:pt>
                <c:pt idx="383">
                  <c:v>17161</c:v>
                </c:pt>
                <c:pt idx="384">
                  <c:v>17165</c:v>
                </c:pt>
                <c:pt idx="385">
                  <c:v>17169</c:v>
                </c:pt>
                <c:pt idx="386">
                  <c:v>17171</c:v>
                </c:pt>
                <c:pt idx="387">
                  <c:v>17171</c:v>
                </c:pt>
                <c:pt idx="388">
                  <c:v>17171</c:v>
                </c:pt>
                <c:pt idx="389">
                  <c:v>17172</c:v>
                </c:pt>
                <c:pt idx="390">
                  <c:v>17173</c:v>
                </c:pt>
                <c:pt idx="391">
                  <c:v>17177</c:v>
                </c:pt>
                <c:pt idx="392">
                  <c:v>17178</c:v>
                </c:pt>
                <c:pt idx="393">
                  <c:v>17184</c:v>
                </c:pt>
                <c:pt idx="394">
                  <c:v>17186</c:v>
                </c:pt>
                <c:pt idx="395">
                  <c:v>17188</c:v>
                </c:pt>
                <c:pt idx="396">
                  <c:v>17188</c:v>
                </c:pt>
                <c:pt idx="397">
                  <c:v>17188</c:v>
                </c:pt>
                <c:pt idx="398">
                  <c:v>17192</c:v>
                </c:pt>
                <c:pt idx="399">
                  <c:v>17197</c:v>
                </c:pt>
                <c:pt idx="400">
                  <c:v>17199</c:v>
                </c:pt>
                <c:pt idx="401">
                  <c:v>17200</c:v>
                </c:pt>
                <c:pt idx="402">
                  <c:v>17202</c:v>
                </c:pt>
                <c:pt idx="403">
                  <c:v>17203</c:v>
                </c:pt>
                <c:pt idx="404">
                  <c:v>17203</c:v>
                </c:pt>
                <c:pt idx="405">
                  <c:v>17205</c:v>
                </c:pt>
                <c:pt idx="406">
                  <c:v>17208</c:v>
                </c:pt>
                <c:pt idx="407">
                  <c:v>17209</c:v>
                </c:pt>
                <c:pt idx="408">
                  <c:v>17212</c:v>
                </c:pt>
                <c:pt idx="409">
                  <c:v>17219</c:v>
                </c:pt>
                <c:pt idx="410">
                  <c:v>17221</c:v>
                </c:pt>
                <c:pt idx="411">
                  <c:v>17222</c:v>
                </c:pt>
                <c:pt idx="412">
                  <c:v>17234</c:v>
                </c:pt>
                <c:pt idx="413">
                  <c:v>17242</c:v>
                </c:pt>
                <c:pt idx="414">
                  <c:v>17253</c:v>
                </c:pt>
                <c:pt idx="415">
                  <c:v>17260</c:v>
                </c:pt>
                <c:pt idx="416">
                  <c:v>17272</c:v>
                </c:pt>
                <c:pt idx="417">
                  <c:v>17272</c:v>
                </c:pt>
                <c:pt idx="418">
                  <c:v>17276</c:v>
                </c:pt>
                <c:pt idx="419">
                  <c:v>17296</c:v>
                </c:pt>
                <c:pt idx="420">
                  <c:v>17302</c:v>
                </c:pt>
                <c:pt idx="421">
                  <c:v>17320</c:v>
                </c:pt>
                <c:pt idx="422">
                  <c:v>17323</c:v>
                </c:pt>
                <c:pt idx="423">
                  <c:v>17331</c:v>
                </c:pt>
                <c:pt idx="424">
                  <c:v>17336</c:v>
                </c:pt>
                <c:pt idx="425">
                  <c:v>17340</c:v>
                </c:pt>
                <c:pt idx="426">
                  <c:v>17381</c:v>
                </c:pt>
                <c:pt idx="427">
                  <c:v>17407</c:v>
                </c:pt>
                <c:pt idx="428">
                  <c:v>17428</c:v>
                </c:pt>
                <c:pt idx="429">
                  <c:v>17453</c:v>
                </c:pt>
                <c:pt idx="430">
                  <c:v>17480</c:v>
                </c:pt>
                <c:pt idx="431">
                  <c:v>17493</c:v>
                </c:pt>
                <c:pt idx="432">
                  <c:v>17498</c:v>
                </c:pt>
                <c:pt idx="433">
                  <c:v>17552</c:v>
                </c:pt>
                <c:pt idx="434">
                  <c:v>17581</c:v>
                </c:pt>
                <c:pt idx="435">
                  <c:v>17612</c:v>
                </c:pt>
                <c:pt idx="436">
                  <c:v>17650</c:v>
                </c:pt>
                <c:pt idx="437">
                  <c:v>17685</c:v>
                </c:pt>
                <c:pt idx="438">
                  <c:v>17705</c:v>
                </c:pt>
                <c:pt idx="439">
                  <c:v>17719</c:v>
                </c:pt>
                <c:pt idx="440">
                  <c:v>17778</c:v>
                </c:pt>
                <c:pt idx="441">
                  <c:v>17813</c:v>
                </c:pt>
                <c:pt idx="442">
                  <c:v>17827</c:v>
                </c:pt>
                <c:pt idx="443">
                  <c:v>17870</c:v>
                </c:pt>
                <c:pt idx="444">
                  <c:v>17922</c:v>
                </c:pt>
                <c:pt idx="445">
                  <c:v>17935</c:v>
                </c:pt>
                <c:pt idx="446">
                  <c:v>17942</c:v>
                </c:pt>
                <c:pt idx="447">
                  <c:v>18016</c:v>
                </c:pt>
                <c:pt idx="448">
                  <c:v>18060</c:v>
                </c:pt>
                <c:pt idx="449">
                  <c:v>18109</c:v>
                </c:pt>
                <c:pt idx="450">
                  <c:v>18158</c:v>
                </c:pt>
                <c:pt idx="451">
                  <c:v>18209</c:v>
                </c:pt>
                <c:pt idx="452">
                  <c:v>18231</c:v>
                </c:pt>
                <c:pt idx="453">
                  <c:v>18238</c:v>
                </c:pt>
                <c:pt idx="454">
                  <c:v>18282</c:v>
                </c:pt>
                <c:pt idx="455">
                  <c:v>18331</c:v>
                </c:pt>
                <c:pt idx="456">
                  <c:v>18374</c:v>
                </c:pt>
                <c:pt idx="457">
                  <c:v>18407</c:v>
                </c:pt>
                <c:pt idx="458">
                  <c:v>18437</c:v>
                </c:pt>
                <c:pt idx="459">
                  <c:v>18458</c:v>
                </c:pt>
                <c:pt idx="460">
                  <c:v>18468</c:v>
                </c:pt>
                <c:pt idx="461">
                  <c:v>18518</c:v>
                </c:pt>
                <c:pt idx="462">
                  <c:v>18554</c:v>
                </c:pt>
                <c:pt idx="463">
                  <c:v>18589</c:v>
                </c:pt>
                <c:pt idx="464">
                  <c:v>18615</c:v>
                </c:pt>
                <c:pt idx="465">
                  <c:v>18635</c:v>
                </c:pt>
                <c:pt idx="466">
                  <c:v>18648</c:v>
                </c:pt>
                <c:pt idx="467">
                  <c:v>18657</c:v>
                </c:pt>
                <c:pt idx="468">
                  <c:v>18692</c:v>
                </c:pt>
                <c:pt idx="469">
                  <c:v>18729</c:v>
                </c:pt>
                <c:pt idx="470">
                  <c:v>18756</c:v>
                </c:pt>
                <c:pt idx="471">
                  <c:v>18774</c:v>
                </c:pt>
                <c:pt idx="472">
                  <c:v>18790</c:v>
                </c:pt>
                <c:pt idx="473">
                  <c:v>18798</c:v>
                </c:pt>
                <c:pt idx="474">
                  <c:v>18808</c:v>
                </c:pt>
                <c:pt idx="475">
                  <c:v>18836</c:v>
                </c:pt>
                <c:pt idx="476">
                  <c:v>18849</c:v>
                </c:pt>
                <c:pt idx="477">
                  <c:v>18858</c:v>
                </c:pt>
                <c:pt idx="478">
                  <c:v>18862</c:v>
                </c:pt>
                <c:pt idx="479">
                  <c:v>18869</c:v>
                </c:pt>
                <c:pt idx="480">
                  <c:v>18872</c:v>
                </c:pt>
                <c:pt idx="481">
                  <c:v>18877</c:v>
                </c:pt>
                <c:pt idx="482">
                  <c:v>18887</c:v>
                </c:pt>
                <c:pt idx="483">
                  <c:v>18904</c:v>
                </c:pt>
                <c:pt idx="484">
                  <c:v>18914</c:v>
                </c:pt>
                <c:pt idx="485">
                  <c:v>18924</c:v>
                </c:pt>
                <c:pt idx="486">
                  <c:v>18930</c:v>
                </c:pt>
                <c:pt idx="487">
                  <c:v>18931</c:v>
                </c:pt>
                <c:pt idx="488">
                  <c:v>18935</c:v>
                </c:pt>
                <c:pt idx="489">
                  <c:v>18956</c:v>
                </c:pt>
                <c:pt idx="490">
                  <c:v>18970</c:v>
                </c:pt>
                <c:pt idx="491">
                  <c:v>18975</c:v>
                </c:pt>
                <c:pt idx="492">
                  <c:v>18984</c:v>
                </c:pt>
                <c:pt idx="493">
                  <c:v>18995</c:v>
                </c:pt>
                <c:pt idx="494">
                  <c:v>18998</c:v>
                </c:pt>
                <c:pt idx="495">
                  <c:v>19001</c:v>
                </c:pt>
                <c:pt idx="496">
                  <c:v>19019</c:v>
                </c:pt>
                <c:pt idx="497">
                  <c:v>19030</c:v>
                </c:pt>
                <c:pt idx="498">
                  <c:v>19039</c:v>
                </c:pt>
                <c:pt idx="499">
                  <c:v>19052</c:v>
                </c:pt>
                <c:pt idx="500">
                  <c:v>19064</c:v>
                </c:pt>
                <c:pt idx="501">
                  <c:v>19070</c:v>
                </c:pt>
                <c:pt idx="502">
                  <c:v>19081</c:v>
                </c:pt>
                <c:pt idx="503">
                  <c:v>19128</c:v>
                </c:pt>
                <c:pt idx="504">
                  <c:v>19163</c:v>
                </c:pt>
                <c:pt idx="505">
                  <c:v>19206</c:v>
                </c:pt>
                <c:pt idx="506">
                  <c:v>19254</c:v>
                </c:pt>
                <c:pt idx="507">
                  <c:v>19323</c:v>
                </c:pt>
                <c:pt idx="508">
                  <c:v>19343</c:v>
                </c:pt>
                <c:pt idx="509">
                  <c:v>19359</c:v>
                </c:pt>
                <c:pt idx="510">
                  <c:v>19455</c:v>
                </c:pt>
                <c:pt idx="511">
                  <c:v>19560</c:v>
                </c:pt>
                <c:pt idx="512">
                  <c:v>19660</c:v>
                </c:pt>
                <c:pt idx="513">
                  <c:v>19720</c:v>
                </c:pt>
                <c:pt idx="514">
                  <c:v>19792</c:v>
                </c:pt>
                <c:pt idx="515">
                  <c:v>19822</c:v>
                </c:pt>
                <c:pt idx="516">
                  <c:v>19853</c:v>
                </c:pt>
                <c:pt idx="517">
                  <c:v>19969</c:v>
                </c:pt>
                <c:pt idx="518">
                  <c:v>20086</c:v>
                </c:pt>
                <c:pt idx="519">
                  <c:v>20168</c:v>
                </c:pt>
                <c:pt idx="520">
                  <c:v>20239</c:v>
                </c:pt>
                <c:pt idx="521">
                  <c:v>20323</c:v>
                </c:pt>
                <c:pt idx="522">
                  <c:v>20355</c:v>
                </c:pt>
                <c:pt idx="523">
                  <c:v>20380</c:v>
                </c:pt>
                <c:pt idx="524">
                  <c:v>20513</c:v>
                </c:pt>
                <c:pt idx="525">
                  <c:v>20604</c:v>
                </c:pt>
                <c:pt idx="526">
                  <c:v>20669</c:v>
                </c:pt>
                <c:pt idx="527">
                  <c:v>20738</c:v>
                </c:pt>
                <c:pt idx="528">
                  <c:v>20789</c:v>
                </c:pt>
                <c:pt idx="529">
                  <c:v>20811</c:v>
                </c:pt>
                <c:pt idx="530">
                  <c:v>20838</c:v>
                </c:pt>
                <c:pt idx="531">
                  <c:v>20928</c:v>
                </c:pt>
                <c:pt idx="532">
                  <c:v>21003</c:v>
                </c:pt>
                <c:pt idx="533">
                  <c:v>21072</c:v>
                </c:pt>
                <c:pt idx="534">
                  <c:v>21113</c:v>
                </c:pt>
                <c:pt idx="535">
                  <c:v>21143</c:v>
                </c:pt>
                <c:pt idx="536">
                  <c:v>21167</c:v>
                </c:pt>
                <c:pt idx="537">
                  <c:v>21178</c:v>
                </c:pt>
                <c:pt idx="538">
                  <c:v>21244</c:v>
                </c:pt>
                <c:pt idx="539">
                  <c:v>21283</c:v>
                </c:pt>
                <c:pt idx="540">
                  <c:v>21323</c:v>
                </c:pt>
                <c:pt idx="541">
                  <c:v>21356</c:v>
                </c:pt>
                <c:pt idx="542">
                  <c:v>21382</c:v>
                </c:pt>
                <c:pt idx="543">
                  <c:v>21393</c:v>
                </c:pt>
                <c:pt idx="544">
                  <c:v>21405</c:v>
                </c:pt>
                <c:pt idx="545">
                  <c:v>21448</c:v>
                </c:pt>
                <c:pt idx="546">
                  <c:v>21480</c:v>
                </c:pt>
                <c:pt idx="547">
                  <c:v>21505</c:v>
                </c:pt>
                <c:pt idx="548">
                  <c:v>21526</c:v>
                </c:pt>
                <c:pt idx="549">
                  <c:v>21542</c:v>
                </c:pt>
                <c:pt idx="550">
                  <c:v>21554</c:v>
                </c:pt>
                <c:pt idx="551">
                  <c:v>21559</c:v>
                </c:pt>
                <c:pt idx="552">
                  <c:v>21603</c:v>
                </c:pt>
                <c:pt idx="553">
                  <c:v>21629</c:v>
                </c:pt>
                <c:pt idx="554">
                  <c:v>21662</c:v>
                </c:pt>
                <c:pt idx="555">
                  <c:v>21679</c:v>
                </c:pt>
                <c:pt idx="556">
                  <c:v>21712</c:v>
                </c:pt>
                <c:pt idx="557">
                  <c:v>21722</c:v>
                </c:pt>
                <c:pt idx="558">
                  <c:v>21727</c:v>
                </c:pt>
                <c:pt idx="559">
                  <c:v>21761</c:v>
                </c:pt>
                <c:pt idx="560">
                  <c:v>21795</c:v>
                </c:pt>
                <c:pt idx="561">
                  <c:v>21820</c:v>
                </c:pt>
                <c:pt idx="562">
                  <c:v>21834</c:v>
                </c:pt>
                <c:pt idx="563">
                  <c:v>218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C3-4558-95C0-65D81E5CAFC4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65</c:f>
              <c:numCache>
                <c:formatCode>m/d/yyyy</c:formatCode>
                <c:ptCount val="56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</c:numCache>
            </c:numRef>
          </c:cat>
          <c:val>
            <c:numRef>
              <c:f>List1!$D$2:$D$565</c:f>
              <c:numCache>
                <c:formatCode>General</c:formatCode>
                <c:ptCount val="564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13</c:v>
                </c:pt>
                <c:pt idx="4">
                  <c:v>13</c:v>
                </c:pt>
                <c:pt idx="5">
                  <c:v>13</c:v>
                </c:pt>
                <c:pt idx="6">
                  <c:v>13</c:v>
                </c:pt>
                <c:pt idx="7">
                  <c:v>14</c:v>
                </c:pt>
                <c:pt idx="8">
                  <c:v>17</c:v>
                </c:pt>
                <c:pt idx="9">
                  <c:v>19</c:v>
                </c:pt>
                <c:pt idx="10">
                  <c:v>20</c:v>
                </c:pt>
                <c:pt idx="11">
                  <c:v>25</c:v>
                </c:pt>
                <c:pt idx="12">
                  <c:v>26</c:v>
                </c:pt>
                <c:pt idx="13">
                  <c:v>39</c:v>
                </c:pt>
                <c:pt idx="14">
                  <c:v>41</c:v>
                </c:pt>
                <c:pt idx="15">
                  <c:v>43</c:v>
                </c:pt>
                <c:pt idx="16">
                  <c:v>45</c:v>
                </c:pt>
                <c:pt idx="17">
                  <c:v>49</c:v>
                </c:pt>
                <c:pt idx="18">
                  <c:v>52</c:v>
                </c:pt>
                <c:pt idx="19">
                  <c:v>60</c:v>
                </c:pt>
                <c:pt idx="20">
                  <c:v>67</c:v>
                </c:pt>
                <c:pt idx="21">
                  <c:v>75</c:v>
                </c:pt>
                <c:pt idx="22">
                  <c:v>77</c:v>
                </c:pt>
                <c:pt idx="23">
                  <c:v>84</c:v>
                </c:pt>
                <c:pt idx="24">
                  <c:v>97</c:v>
                </c:pt>
                <c:pt idx="25">
                  <c:v>109</c:v>
                </c:pt>
                <c:pt idx="26">
                  <c:v>118</c:v>
                </c:pt>
                <c:pt idx="27">
                  <c:v>127</c:v>
                </c:pt>
                <c:pt idx="28">
                  <c:v>158</c:v>
                </c:pt>
                <c:pt idx="29">
                  <c:v>196</c:v>
                </c:pt>
                <c:pt idx="30">
                  <c:v>257</c:v>
                </c:pt>
                <c:pt idx="31">
                  <c:v>418</c:v>
                </c:pt>
                <c:pt idx="32">
                  <c:v>487</c:v>
                </c:pt>
                <c:pt idx="33">
                  <c:v>575</c:v>
                </c:pt>
                <c:pt idx="34">
                  <c:v>847</c:v>
                </c:pt>
                <c:pt idx="35">
                  <c:v>981</c:v>
                </c:pt>
                <c:pt idx="36">
                  <c:v>1069</c:v>
                </c:pt>
                <c:pt idx="37">
                  <c:v>1236</c:v>
                </c:pt>
                <c:pt idx="38">
                  <c:v>1468</c:v>
                </c:pt>
                <c:pt idx="39">
                  <c:v>1549</c:v>
                </c:pt>
                <c:pt idx="40">
                  <c:v>1588</c:v>
                </c:pt>
                <c:pt idx="41">
                  <c:v>1905</c:v>
                </c:pt>
                <c:pt idx="42">
                  <c:v>2293</c:v>
                </c:pt>
                <c:pt idx="43">
                  <c:v>2674</c:v>
                </c:pt>
                <c:pt idx="44">
                  <c:v>3087</c:v>
                </c:pt>
                <c:pt idx="45">
                  <c:v>3510</c:v>
                </c:pt>
                <c:pt idx="46">
                  <c:v>3775</c:v>
                </c:pt>
                <c:pt idx="47">
                  <c:v>3867</c:v>
                </c:pt>
                <c:pt idx="48">
                  <c:v>4319</c:v>
                </c:pt>
                <c:pt idx="49">
                  <c:v>4727</c:v>
                </c:pt>
                <c:pt idx="50">
                  <c:v>5329</c:v>
                </c:pt>
                <c:pt idx="51">
                  <c:v>5809</c:v>
                </c:pt>
                <c:pt idx="52">
                  <c:v>6583</c:v>
                </c:pt>
                <c:pt idx="53">
                  <c:v>7004</c:v>
                </c:pt>
                <c:pt idx="54">
                  <c:v>7294</c:v>
                </c:pt>
                <c:pt idx="55">
                  <c:v>8076</c:v>
                </c:pt>
                <c:pt idx="56">
                  <c:v>9035</c:v>
                </c:pt>
                <c:pt idx="57">
                  <c:v>9440</c:v>
                </c:pt>
                <c:pt idx="58">
                  <c:v>10474</c:v>
                </c:pt>
                <c:pt idx="59">
                  <c:v>11410</c:v>
                </c:pt>
                <c:pt idx="60">
                  <c:v>11935</c:v>
                </c:pt>
                <c:pt idx="61">
                  <c:v>12272</c:v>
                </c:pt>
                <c:pt idx="62">
                  <c:v>12927</c:v>
                </c:pt>
                <c:pt idx="63">
                  <c:v>13523</c:v>
                </c:pt>
                <c:pt idx="64">
                  <c:v>14296</c:v>
                </c:pt>
                <c:pt idx="65">
                  <c:v>15132</c:v>
                </c:pt>
                <c:pt idx="66">
                  <c:v>15879</c:v>
                </c:pt>
                <c:pt idx="67">
                  <c:v>16217</c:v>
                </c:pt>
                <c:pt idx="68">
                  <c:v>16351</c:v>
                </c:pt>
                <c:pt idx="69">
                  <c:v>16768</c:v>
                </c:pt>
                <c:pt idx="70">
                  <c:v>17369</c:v>
                </c:pt>
                <c:pt idx="71">
                  <c:v>18330</c:v>
                </c:pt>
                <c:pt idx="72">
                  <c:v>19084</c:v>
                </c:pt>
                <c:pt idx="73">
                  <c:v>19781</c:v>
                </c:pt>
                <c:pt idx="74">
                  <c:v>20045</c:v>
                </c:pt>
                <c:pt idx="75">
                  <c:v>20249</c:v>
                </c:pt>
                <c:pt idx="76">
                  <c:v>20845</c:v>
                </c:pt>
                <c:pt idx="77">
                  <c:v>21038</c:v>
                </c:pt>
                <c:pt idx="78">
                  <c:v>21480</c:v>
                </c:pt>
                <c:pt idx="79">
                  <c:v>21894</c:v>
                </c:pt>
                <c:pt idx="80">
                  <c:v>22268</c:v>
                </c:pt>
                <c:pt idx="81">
                  <c:v>22405</c:v>
                </c:pt>
                <c:pt idx="82">
                  <c:v>22518</c:v>
                </c:pt>
                <c:pt idx="83">
                  <c:v>23056</c:v>
                </c:pt>
                <c:pt idx="84">
                  <c:v>23369</c:v>
                </c:pt>
                <c:pt idx="85">
                  <c:v>23598</c:v>
                </c:pt>
                <c:pt idx="86">
                  <c:v>23858</c:v>
                </c:pt>
                <c:pt idx="87">
                  <c:v>24082</c:v>
                </c:pt>
                <c:pt idx="88">
                  <c:v>24184</c:v>
                </c:pt>
                <c:pt idx="89">
                  <c:v>24229</c:v>
                </c:pt>
                <c:pt idx="90">
                  <c:v>24559</c:v>
                </c:pt>
                <c:pt idx="91">
                  <c:v>24777</c:v>
                </c:pt>
                <c:pt idx="92">
                  <c:v>24989</c:v>
                </c:pt>
                <c:pt idx="93">
                  <c:v>25185</c:v>
                </c:pt>
                <c:pt idx="94">
                  <c:v>25429</c:v>
                </c:pt>
                <c:pt idx="95">
                  <c:v>25561</c:v>
                </c:pt>
                <c:pt idx="96">
                  <c:v>25612</c:v>
                </c:pt>
                <c:pt idx="97">
                  <c:v>25878</c:v>
                </c:pt>
                <c:pt idx="98">
                  <c:v>26050</c:v>
                </c:pt>
                <c:pt idx="99">
                  <c:v>26257</c:v>
                </c:pt>
                <c:pt idx="100">
                  <c:v>26405</c:v>
                </c:pt>
                <c:pt idx="101">
                  <c:v>26725</c:v>
                </c:pt>
                <c:pt idx="102">
                  <c:v>26813</c:v>
                </c:pt>
                <c:pt idx="103">
                  <c:v>26882</c:v>
                </c:pt>
                <c:pt idx="104">
                  <c:v>27175</c:v>
                </c:pt>
                <c:pt idx="105">
                  <c:v>27382</c:v>
                </c:pt>
                <c:pt idx="106">
                  <c:v>27580</c:v>
                </c:pt>
                <c:pt idx="107">
                  <c:v>27706</c:v>
                </c:pt>
                <c:pt idx="108">
                  <c:v>28019</c:v>
                </c:pt>
                <c:pt idx="109">
                  <c:v>28112</c:v>
                </c:pt>
                <c:pt idx="110">
                  <c:v>28163</c:v>
                </c:pt>
                <c:pt idx="111">
                  <c:v>28512</c:v>
                </c:pt>
                <c:pt idx="112">
                  <c:v>28808</c:v>
                </c:pt>
                <c:pt idx="113">
                  <c:v>29061</c:v>
                </c:pt>
                <c:pt idx="114">
                  <c:v>29112</c:v>
                </c:pt>
                <c:pt idx="115">
                  <c:v>29236</c:v>
                </c:pt>
                <c:pt idx="116">
                  <c:v>29369</c:v>
                </c:pt>
                <c:pt idx="117">
                  <c:v>29516</c:v>
                </c:pt>
                <c:pt idx="118">
                  <c:v>29876</c:v>
                </c:pt>
                <c:pt idx="119">
                  <c:v>30208</c:v>
                </c:pt>
                <c:pt idx="120">
                  <c:v>30470</c:v>
                </c:pt>
                <c:pt idx="121">
                  <c:v>30700</c:v>
                </c:pt>
                <c:pt idx="122">
                  <c:v>30801</c:v>
                </c:pt>
                <c:pt idx="123">
                  <c:v>30929</c:v>
                </c:pt>
                <c:pt idx="124">
                  <c:v>31010</c:v>
                </c:pt>
                <c:pt idx="125">
                  <c:v>31586</c:v>
                </c:pt>
                <c:pt idx="126">
                  <c:v>31892</c:v>
                </c:pt>
                <c:pt idx="127">
                  <c:v>32178</c:v>
                </c:pt>
                <c:pt idx="128">
                  <c:v>32523</c:v>
                </c:pt>
                <c:pt idx="129">
                  <c:v>32847</c:v>
                </c:pt>
                <c:pt idx="130">
                  <c:v>32974</c:v>
                </c:pt>
                <c:pt idx="131">
                  <c:v>33038</c:v>
                </c:pt>
                <c:pt idx="132">
                  <c:v>33535</c:v>
                </c:pt>
                <c:pt idx="133">
                  <c:v>33766</c:v>
                </c:pt>
                <c:pt idx="134">
                  <c:v>34054</c:v>
                </c:pt>
                <c:pt idx="135">
                  <c:v>34213</c:v>
                </c:pt>
                <c:pt idx="136">
                  <c:v>34375</c:v>
                </c:pt>
                <c:pt idx="137">
                  <c:v>34447</c:v>
                </c:pt>
                <c:pt idx="138">
                  <c:v>34525</c:v>
                </c:pt>
                <c:pt idx="139">
                  <c:v>34826</c:v>
                </c:pt>
                <c:pt idx="140">
                  <c:v>34987</c:v>
                </c:pt>
                <c:pt idx="141">
                  <c:v>35208</c:v>
                </c:pt>
                <c:pt idx="142">
                  <c:v>35386</c:v>
                </c:pt>
                <c:pt idx="143">
                  <c:v>35588</c:v>
                </c:pt>
                <c:pt idx="144">
                  <c:v>35670</c:v>
                </c:pt>
                <c:pt idx="145">
                  <c:v>35710</c:v>
                </c:pt>
                <c:pt idx="146">
                  <c:v>35891</c:v>
                </c:pt>
                <c:pt idx="147">
                  <c:v>36013</c:v>
                </c:pt>
                <c:pt idx="148">
                  <c:v>36169</c:v>
                </c:pt>
                <c:pt idx="149">
                  <c:v>36274</c:v>
                </c:pt>
                <c:pt idx="150">
                  <c:v>36364</c:v>
                </c:pt>
                <c:pt idx="151">
                  <c:v>36444</c:v>
                </c:pt>
                <c:pt idx="152">
                  <c:v>36470</c:v>
                </c:pt>
                <c:pt idx="153">
                  <c:v>36662</c:v>
                </c:pt>
                <c:pt idx="154">
                  <c:v>36838</c:v>
                </c:pt>
                <c:pt idx="155">
                  <c:v>37001</c:v>
                </c:pt>
                <c:pt idx="156">
                  <c:v>37135</c:v>
                </c:pt>
                <c:pt idx="157">
                  <c:v>37276</c:v>
                </c:pt>
                <c:pt idx="158">
                  <c:v>37334</c:v>
                </c:pt>
                <c:pt idx="159">
                  <c:v>37368</c:v>
                </c:pt>
                <c:pt idx="160">
                  <c:v>37509</c:v>
                </c:pt>
                <c:pt idx="161">
                  <c:v>37597</c:v>
                </c:pt>
                <c:pt idx="162">
                  <c:v>37699</c:v>
                </c:pt>
                <c:pt idx="163">
                  <c:v>37811</c:v>
                </c:pt>
                <c:pt idx="164">
                  <c:v>37904</c:v>
                </c:pt>
                <c:pt idx="165">
                  <c:v>37928</c:v>
                </c:pt>
                <c:pt idx="166">
                  <c:v>37961</c:v>
                </c:pt>
                <c:pt idx="167">
                  <c:v>38066</c:v>
                </c:pt>
                <c:pt idx="168">
                  <c:v>38119</c:v>
                </c:pt>
                <c:pt idx="169">
                  <c:v>38187</c:v>
                </c:pt>
                <c:pt idx="170">
                  <c:v>38255</c:v>
                </c:pt>
                <c:pt idx="171">
                  <c:v>38326</c:v>
                </c:pt>
                <c:pt idx="172">
                  <c:v>38353</c:v>
                </c:pt>
                <c:pt idx="173">
                  <c:v>38384</c:v>
                </c:pt>
                <c:pt idx="174">
                  <c:v>38558</c:v>
                </c:pt>
                <c:pt idx="175">
                  <c:v>38643</c:v>
                </c:pt>
                <c:pt idx="176">
                  <c:v>38716</c:v>
                </c:pt>
                <c:pt idx="177">
                  <c:v>38798</c:v>
                </c:pt>
                <c:pt idx="178">
                  <c:v>38895</c:v>
                </c:pt>
                <c:pt idx="179">
                  <c:v>38918</c:v>
                </c:pt>
                <c:pt idx="180">
                  <c:v>38931</c:v>
                </c:pt>
                <c:pt idx="181">
                  <c:v>39077</c:v>
                </c:pt>
                <c:pt idx="182">
                  <c:v>39150</c:v>
                </c:pt>
                <c:pt idx="183">
                  <c:v>39252</c:v>
                </c:pt>
                <c:pt idx="184">
                  <c:v>39311</c:v>
                </c:pt>
                <c:pt idx="185">
                  <c:v>39373</c:v>
                </c:pt>
                <c:pt idx="186">
                  <c:v>39394</c:v>
                </c:pt>
                <c:pt idx="187">
                  <c:v>39414</c:v>
                </c:pt>
                <c:pt idx="188">
                  <c:v>39508</c:v>
                </c:pt>
                <c:pt idx="189">
                  <c:v>39665</c:v>
                </c:pt>
                <c:pt idx="190">
                  <c:v>39764</c:v>
                </c:pt>
                <c:pt idx="191">
                  <c:v>39809</c:v>
                </c:pt>
                <c:pt idx="192">
                  <c:v>39864</c:v>
                </c:pt>
                <c:pt idx="193">
                  <c:v>39885</c:v>
                </c:pt>
                <c:pt idx="194">
                  <c:v>39899</c:v>
                </c:pt>
                <c:pt idx="195">
                  <c:v>39971</c:v>
                </c:pt>
                <c:pt idx="196">
                  <c:v>40020</c:v>
                </c:pt>
                <c:pt idx="197">
                  <c:v>40059</c:v>
                </c:pt>
                <c:pt idx="198">
                  <c:v>40112</c:v>
                </c:pt>
                <c:pt idx="199">
                  <c:v>40154</c:v>
                </c:pt>
                <c:pt idx="200">
                  <c:v>40166</c:v>
                </c:pt>
                <c:pt idx="201">
                  <c:v>40175</c:v>
                </c:pt>
                <c:pt idx="202">
                  <c:v>40227</c:v>
                </c:pt>
                <c:pt idx="203">
                  <c:v>40277</c:v>
                </c:pt>
                <c:pt idx="204">
                  <c:v>40310</c:v>
                </c:pt>
                <c:pt idx="205">
                  <c:v>40353</c:v>
                </c:pt>
                <c:pt idx="206">
                  <c:v>40378</c:v>
                </c:pt>
                <c:pt idx="207">
                  <c:v>40384</c:v>
                </c:pt>
                <c:pt idx="208">
                  <c:v>40391</c:v>
                </c:pt>
                <c:pt idx="209">
                  <c:v>40438</c:v>
                </c:pt>
                <c:pt idx="210">
                  <c:v>40471</c:v>
                </c:pt>
                <c:pt idx="211">
                  <c:v>40496</c:v>
                </c:pt>
                <c:pt idx="212">
                  <c:v>40520</c:v>
                </c:pt>
                <c:pt idx="213">
                  <c:v>40529</c:v>
                </c:pt>
                <c:pt idx="214">
                  <c:v>40537</c:v>
                </c:pt>
                <c:pt idx="215">
                  <c:v>40541</c:v>
                </c:pt>
                <c:pt idx="216">
                  <c:v>40550</c:v>
                </c:pt>
                <c:pt idx="217">
                  <c:v>40577</c:v>
                </c:pt>
                <c:pt idx="218">
                  <c:v>40613</c:v>
                </c:pt>
                <c:pt idx="219">
                  <c:v>40633</c:v>
                </c:pt>
                <c:pt idx="220">
                  <c:v>40644</c:v>
                </c:pt>
                <c:pt idx="221">
                  <c:v>40652</c:v>
                </c:pt>
                <c:pt idx="222">
                  <c:v>40653</c:v>
                </c:pt>
                <c:pt idx="223">
                  <c:v>40664</c:v>
                </c:pt>
                <c:pt idx="224">
                  <c:v>40675</c:v>
                </c:pt>
                <c:pt idx="225">
                  <c:v>40684</c:v>
                </c:pt>
                <c:pt idx="226">
                  <c:v>40695</c:v>
                </c:pt>
                <c:pt idx="227">
                  <c:v>40703</c:v>
                </c:pt>
                <c:pt idx="228">
                  <c:v>40705</c:v>
                </c:pt>
                <c:pt idx="229">
                  <c:v>40708</c:v>
                </c:pt>
                <c:pt idx="230">
                  <c:v>40728</c:v>
                </c:pt>
                <c:pt idx="231">
                  <c:v>40740</c:v>
                </c:pt>
                <c:pt idx="232">
                  <c:v>40750</c:v>
                </c:pt>
                <c:pt idx="233">
                  <c:v>40772</c:v>
                </c:pt>
                <c:pt idx="234">
                  <c:v>40783</c:v>
                </c:pt>
                <c:pt idx="235">
                  <c:v>40785</c:v>
                </c:pt>
                <c:pt idx="236">
                  <c:v>40785</c:v>
                </c:pt>
                <c:pt idx="237">
                  <c:v>40796</c:v>
                </c:pt>
                <c:pt idx="238">
                  <c:v>40809</c:v>
                </c:pt>
                <c:pt idx="239">
                  <c:v>40814</c:v>
                </c:pt>
                <c:pt idx="240">
                  <c:v>40819</c:v>
                </c:pt>
                <c:pt idx="241">
                  <c:v>40826</c:v>
                </c:pt>
                <c:pt idx="242">
                  <c:v>40827</c:v>
                </c:pt>
                <c:pt idx="243">
                  <c:v>40829</c:v>
                </c:pt>
                <c:pt idx="244">
                  <c:v>40835</c:v>
                </c:pt>
                <c:pt idx="245">
                  <c:v>40837</c:v>
                </c:pt>
                <c:pt idx="246">
                  <c:v>40841</c:v>
                </c:pt>
                <c:pt idx="247">
                  <c:v>40847</c:v>
                </c:pt>
                <c:pt idx="248">
                  <c:v>40851</c:v>
                </c:pt>
                <c:pt idx="249">
                  <c:v>40853</c:v>
                </c:pt>
                <c:pt idx="250">
                  <c:v>40856</c:v>
                </c:pt>
                <c:pt idx="251">
                  <c:v>40864</c:v>
                </c:pt>
                <c:pt idx="252">
                  <c:v>40870</c:v>
                </c:pt>
                <c:pt idx="253">
                  <c:v>40870</c:v>
                </c:pt>
                <c:pt idx="254">
                  <c:v>40875</c:v>
                </c:pt>
                <c:pt idx="255">
                  <c:v>40881</c:v>
                </c:pt>
                <c:pt idx="256">
                  <c:v>40882</c:v>
                </c:pt>
                <c:pt idx="257">
                  <c:v>40882</c:v>
                </c:pt>
                <c:pt idx="258">
                  <c:v>40891</c:v>
                </c:pt>
                <c:pt idx="259">
                  <c:v>40896</c:v>
                </c:pt>
                <c:pt idx="260">
                  <c:v>40900</c:v>
                </c:pt>
                <c:pt idx="261">
                  <c:v>40904</c:v>
                </c:pt>
                <c:pt idx="262">
                  <c:v>40905</c:v>
                </c:pt>
                <c:pt idx="263">
                  <c:v>40905</c:v>
                </c:pt>
                <c:pt idx="264">
                  <c:v>40905</c:v>
                </c:pt>
                <c:pt idx="265">
                  <c:v>40909</c:v>
                </c:pt>
                <c:pt idx="266">
                  <c:v>40910</c:v>
                </c:pt>
                <c:pt idx="267">
                  <c:v>40911</c:v>
                </c:pt>
                <c:pt idx="268">
                  <c:v>40913</c:v>
                </c:pt>
                <c:pt idx="269">
                  <c:v>40913</c:v>
                </c:pt>
                <c:pt idx="270">
                  <c:v>40913</c:v>
                </c:pt>
                <c:pt idx="271">
                  <c:v>40913</c:v>
                </c:pt>
                <c:pt idx="272">
                  <c:v>40915</c:v>
                </c:pt>
                <c:pt idx="273">
                  <c:v>40915</c:v>
                </c:pt>
                <c:pt idx="274">
                  <c:v>40918</c:v>
                </c:pt>
                <c:pt idx="275">
                  <c:v>40921</c:v>
                </c:pt>
                <c:pt idx="276">
                  <c:v>40921</c:v>
                </c:pt>
                <c:pt idx="277">
                  <c:v>40921</c:v>
                </c:pt>
                <c:pt idx="278">
                  <c:v>40921</c:v>
                </c:pt>
                <c:pt idx="279">
                  <c:v>40922</c:v>
                </c:pt>
                <c:pt idx="280">
                  <c:v>40922</c:v>
                </c:pt>
                <c:pt idx="281">
                  <c:v>40922</c:v>
                </c:pt>
                <c:pt idx="282">
                  <c:v>40922</c:v>
                </c:pt>
                <c:pt idx="283">
                  <c:v>40923</c:v>
                </c:pt>
                <c:pt idx="284">
                  <c:v>40924</c:v>
                </c:pt>
                <c:pt idx="285">
                  <c:v>40924</c:v>
                </c:pt>
                <c:pt idx="286">
                  <c:v>40924</c:v>
                </c:pt>
                <c:pt idx="287">
                  <c:v>40924</c:v>
                </c:pt>
                <c:pt idx="288">
                  <c:v>40924</c:v>
                </c:pt>
                <c:pt idx="289">
                  <c:v>40925</c:v>
                </c:pt>
                <c:pt idx="290">
                  <c:v>40925</c:v>
                </c:pt>
                <c:pt idx="291">
                  <c:v>40925</c:v>
                </c:pt>
                <c:pt idx="292">
                  <c:v>40925</c:v>
                </c:pt>
                <c:pt idx="293">
                  <c:v>40925</c:v>
                </c:pt>
                <c:pt idx="294">
                  <c:v>40925</c:v>
                </c:pt>
                <c:pt idx="295">
                  <c:v>40926</c:v>
                </c:pt>
                <c:pt idx="296">
                  <c:v>40928</c:v>
                </c:pt>
                <c:pt idx="297">
                  <c:v>40929</c:v>
                </c:pt>
                <c:pt idx="298">
                  <c:v>40929</c:v>
                </c:pt>
                <c:pt idx="299">
                  <c:v>40929</c:v>
                </c:pt>
                <c:pt idx="300">
                  <c:v>40930</c:v>
                </c:pt>
                <c:pt idx="301">
                  <c:v>40930</c:v>
                </c:pt>
                <c:pt idx="302">
                  <c:v>40931</c:v>
                </c:pt>
                <c:pt idx="303">
                  <c:v>40932</c:v>
                </c:pt>
                <c:pt idx="304">
                  <c:v>40932</c:v>
                </c:pt>
                <c:pt idx="305">
                  <c:v>40932</c:v>
                </c:pt>
                <c:pt idx="306">
                  <c:v>40933</c:v>
                </c:pt>
                <c:pt idx="307">
                  <c:v>40933</c:v>
                </c:pt>
                <c:pt idx="308">
                  <c:v>40934</c:v>
                </c:pt>
                <c:pt idx="309">
                  <c:v>40935</c:v>
                </c:pt>
                <c:pt idx="310">
                  <c:v>40937</c:v>
                </c:pt>
                <c:pt idx="311">
                  <c:v>40937</c:v>
                </c:pt>
                <c:pt idx="312">
                  <c:v>40937</c:v>
                </c:pt>
                <c:pt idx="313">
                  <c:v>40938</c:v>
                </c:pt>
                <c:pt idx="314">
                  <c:v>40938</c:v>
                </c:pt>
                <c:pt idx="315">
                  <c:v>40938</c:v>
                </c:pt>
                <c:pt idx="316">
                  <c:v>40938</c:v>
                </c:pt>
                <c:pt idx="317">
                  <c:v>40938</c:v>
                </c:pt>
                <c:pt idx="318">
                  <c:v>40938</c:v>
                </c:pt>
                <c:pt idx="319">
                  <c:v>40938</c:v>
                </c:pt>
                <c:pt idx="320">
                  <c:v>40938</c:v>
                </c:pt>
                <c:pt idx="321">
                  <c:v>40938</c:v>
                </c:pt>
                <c:pt idx="322">
                  <c:v>40938</c:v>
                </c:pt>
                <c:pt idx="323">
                  <c:v>40939</c:v>
                </c:pt>
                <c:pt idx="324">
                  <c:v>40939</c:v>
                </c:pt>
                <c:pt idx="325">
                  <c:v>40939</c:v>
                </c:pt>
                <c:pt idx="326">
                  <c:v>40940</c:v>
                </c:pt>
                <c:pt idx="327">
                  <c:v>40940</c:v>
                </c:pt>
                <c:pt idx="328">
                  <c:v>40940</c:v>
                </c:pt>
                <c:pt idx="329">
                  <c:v>40941</c:v>
                </c:pt>
                <c:pt idx="330">
                  <c:v>40943</c:v>
                </c:pt>
                <c:pt idx="331">
                  <c:v>40943</c:v>
                </c:pt>
                <c:pt idx="332">
                  <c:v>40944</c:v>
                </c:pt>
                <c:pt idx="333">
                  <c:v>40944</c:v>
                </c:pt>
                <c:pt idx="334">
                  <c:v>40944</c:v>
                </c:pt>
                <c:pt idx="335">
                  <c:v>40944</c:v>
                </c:pt>
                <c:pt idx="336">
                  <c:v>40944</c:v>
                </c:pt>
                <c:pt idx="337">
                  <c:v>40944</c:v>
                </c:pt>
                <c:pt idx="338">
                  <c:v>40944</c:v>
                </c:pt>
                <c:pt idx="339">
                  <c:v>40944</c:v>
                </c:pt>
                <c:pt idx="340">
                  <c:v>40944</c:v>
                </c:pt>
                <c:pt idx="341">
                  <c:v>40945</c:v>
                </c:pt>
                <c:pt idx="342">
                  <c:v>40945</c:v>
                </c:pt>
                <c:pt idx="343">
                  <c:v>40945</c:v>
                </c:pt>
                <c:pt idx="344">
                  <c:v>40946</c:v>
                </c:pt>
                <c:pt idx="345">
                  <c:v>40946</c:v>
                </c:pt>
                <c:pt idx="346">
                  <c:v>40946</c:v>
                </c:pt>
                <c:pt idx="347">
                  <c:v>40946</c:v>
                </c:pt>
                <c:pt idx="348">
                  <c:v>40947</c:v>
                </c:pt>
                <c:pt idx="349">
                  <c:v>40948</c:v>
                </c:pt>
                <c:pt idx="350">
                  <c:v>40949</c:v>
                </c:pt>
                <c:pt idx="351">
                  <c:v>40949</c:v>
                </c:pt>
                <c:pt idx="352">
                  <c:v>40950</c:v>
                </c:pt>
                <c:pt idx="353">
                  <c:v>40950</c:v>
                </c:pt>
                <c:pt idx="354">
                  <c:v>40950</c:v>
                </c:pt>
                <c:pt idx="355">
                  <c:v>40950</c:v>
                </c:pt>
                <c:pt idx="356">
                  <c:v>40953</c:v>
                </c:pt>
                <c:pt idx="357">
                  <c:v>40953</c:v>
                </c:pt>
                <c:pt idx="358">
                  <c:v>40953</c:v>
                </c:pt>
                <c:pt idx="359">
                  <c:v>40954</c:v>
                </c:pt>
                <c:pt idx="360">
                  <c:v>40955</c:v>
                </c:pt>
                <c:pt idx="361">
                  <c:v>40956</c:v>
                </c:pt>
                <c:pt idx="362">
                  <c:v>40957</c:v>
                </c:pt>
                <c:pt idx="363">
                  <c:v>40957</c:v>
                </c:pt>
                <c:pt idx="364">
                  <c:v>40957</c:v>
                </c:pt>
                <c:pt idx="365">
                  <c:v>40963</c:v>
                </c:pt>
                <c:pt idx="366">
                  <c:v>40968</c:v>
                </c:pt>
                <c:pt idx="367">
                  <c:v>40971</c:v>
                </c:pt>
                <c:pt idx="368">
                  <c:v>40972</c:v>
                </c:pt>
                <c:pt idx="369">
                  <c:v>40972</c:v>
                </c:pt>
                <c:pt idx="370">
                  <c:v>40977</c:v>
                </c:pt>
                <c:pt idx="371">
                  <c:v>40979</c:v>
                </c:pt>
                <c:pt idx="372">
                  <c:v>40980</c:v>
                </c:pt>
                <c:pt idx="373">
                  <c:v>40982</c:v>
                </c:pt>
                <c:pt idx="374">
                  <c:v>40983</c:v>
                </c:pt>
                <c:pt idx="375">
                  <c:v>40983</c:v>
                </c:pt>
                <c:pt idx="376">
                  <c:v>40984</c:v>
                </c:pt>
                <c:pt idx="377">
                  <c:v>40985</c:v>
                </c:pt>
                <c:pt idx="378">
                  <c:v>40986</c:v>
                </c:pt>
                <c:pt idx="379">
                  <c:v>40986</c:v>
                </c:pt>
                <c:pt idx="380">
                  <c:v>40986</c:v>
                </c:pt>
                <c:pt idx="381">
                  <c:v>40986</c:v>
                </c:pt>
                <c:pt idx="382">
                  <c:v>40987</c:v>
                </c:pt>
                <c:pt idx="383">
                  <c:v>40987</c:v>
                </c:pt>
                <c:pt idx="384">
                  <c:v>40992</c:v>
                </c:pt>
                <c:pt idx="385">
                  <c:v>41000</c:v>
                </c:pt>
                <c:pt idx="386">
                  <c:v>41003</c:v>
                </c:pt>
                <c:pt idx="387">
                  <c:v>41003</c:v>
                </c:pt>
                <c:pt idx="388">
                  <c:v>41003</c:v>
                </c:pt>
                <c:pt idx="389">
                  <c:v>41004</c:v>
                </c:pt>
                <c:pt idx="390">
                  <c:v>41005</c:v>
                </c:pt>
                <c:pt idx="391">
                  <c:v>41011</c:v>
                </c:pt>
                <c:pt idx="392">
                  <c:v>41012</c:v>
                </c:pt>
                <c:pt idx="393">
                  <c:v>41019</c:v>
                </c:pt>
                <c:pt idx="394">
                  <c:v>41021</c:v>
                </c:pt>
                <c:pt idx="395">
                  <c:v>41023</c:v>
                </c:pt>
                <c:pt idx="396">
                  <c:v>41024</c:v>
                </c:pt>
                <c:pt idx="397">
                  <c:v>41025</c:v>
                </c:pt>
                <c:pt idx="398">
                  <c:v>41031</c:v>
                </c:pt>
                <c:pt idx="399">
                  <c:v>41038</c:v>
                </c:pt>
                <c:pt idx="400">
                  <c:v>41048</c:v>
                </c:pt>
                <c:pt idx="401">
                  <c:v>41051</c:v>
                </c:pt>
                <c:pt idx="402">
                  <c:v>41078</c:v>
                </c:pt>
                <c:pt idx="403">
                  <c:v>41080</c:v>
                </c:pt>
                <c:pt idx="404">
                  <c:v>41080</c:v>
                </c:pt>
                <c:pt idx="405">
                  <c:v>41083</c:v>
                </c:pt>
                <c:pt idx="406">
                  <c:v>41087</c:v>
                </c:pt>
                <c:pt idx="407">
                  <c:v>41108</c:v>
                </c:pt>
                <c:pt idx="408">
                  <c:v>41114</c:v>
                </c:pt>
                <c:pt idx="409">
                  <c:v>41123</c:v>
                </c:pt>
                <c:pt idx="410">
                  <c:v>41125</c:v>
                </c:pt>
                <c:pt idx="411">
                  <c:v>41126</c:v>
                </c:pt>
                <c:pt idx="412">
                  <c:v>41144</c:v>
                </c:pt>
                <c:pt idx="413">
                  <c:v>41157</c:v>
                </c:pt>
                <c:pt idx="414">
                  <c:v>41172</c:v>
                </c:pt>
                <c:pt idx="415">
                  <c:v>41181</c:v>
                </c:pt>
                <c:pt idx="416">
                  <c:v>41198</c:v>
                </c:pt>
                <c:pt idx="417">
                  <c:v>41199</c:v>
                </c:pt>
                <c:pt idx="418">
                  <c:v>41204</c:v>
                </c:pt>
                <c:pt idx="419">
                  <c:v>41238</c:v>
                </c:pt>
                <c:pt idx="420">
                  <c:v>41253</c:v>
                </c:pt>
                <c:pt idx="421">
                  <c:v>41282</c:v>
                </c:pt>
                <c:pt idx="422">
                  <c:v>41285</c:v>
                </c:pt>
                <c:pt idx="423">
                  <c:v>41311</c:v>
                </c:pt>
                <c:pt idx="424">
                  <c:v>41323</c:v>
                </c:pt>
                <c:pt idx="425">
                  <c:v>41338</c:v>
                </c:pt>
                <c:pt idx="426">
                  <c:v>41414</c:v>
                </c:pt>
                <c:pt idx="427">
                  <c:v>41455</c:v>
                </c:pt>
                <c:pt idx="428">
                  <c:v>41492</c:v>
                </c:pt>
                <c:pt idx="429">
                  <c:v>41570</c:v>
                </c:pt>
                <c:pt idx="430">
                  <c:v>41620</c:v>
                </c:pt>
                <c:pt idx="431">
                  <c:v>41639</c:v>
                </c:pt>
                <c:pt idx="432">
                  <c:v>41649</c:v>
                </c:pt>
                <c:pt idx="433">
                  <c:v>41733</c:v>
                </c:pt>
                <c:pt idx="434">
                  <c:v>41792</c:v>
                </c:pt>
                <c:pt idx="435">
                  <c:v>41839</c:v>
                </c:pt>
                <c:pt idx="436">
                  <c:v>41896</c:v>
                </c:pt>
                <c:pt idx="437">
                  <c:v>41948</c:v>
                </c:pt>
                <c:pt idx="438">
                  <c:v>41981</c:v>
                </c:pt>
                <c:pt idx="439">
                  <c:v>42010</c:v>
                </c:pt>
                <c:pt idx="440">
                  <c:v>42112</c:v>
                </c:pt>
                <c:pt idx="441">
                  <c:v>42179</c:v>
                </c:pt>
                <c:pt idx="442">
                  <c:v>42218</c:v>
                </c:pt>
                <c:pt idx="443">
                  <c:v>42317</c:v>
                </c:pt>
                <c:pt idx="444">
                  <c:v>42454</c:v>
                </c:pt>
                <c:pt idx="445">
                  <c:v>42493</c:v>
                </c:pt>
                <c:pt idx="446">
                  <c:v>42509</c:v>
                </c:pt>
                <c:pt idx="447">
                  <c:v>42633</c:v>
                </c:pt>
                <c:pt idx="448">
                  <c:v>42701</c:v>
                </c:pt>
                <c:pt idx="449">
                  <c:v>42792</c:v>
                </c:pt>
                <c:pt idx="450">
                  <c:v>42870</c:v>
                </c:pt>
                <c:pt idx="451">
                  <c:v>42974</c:v>
                </c:pt>
                <c:pt idx="452">
                  <c:v>43001</c:v>
                </c:pt>
                <c:pt idx="453">
                  <c:v>43015</c:v>
                </c:pt>
                <c:pt idx="454">
                  <c:v>43103</c:v>
                </c:pt>
                <c:pt idx="455">
                  <c:v>43167</c:v>
                </c:pt>
                <c:pt idx="456">
                  <c:v>43241</c:v>
                </c:pt>
                <c:pt idx="457">
                  <c:v>43305</c:v>
                </c:pt>
                <c:pt idx="458">
                  <c:v>43349</c:v>
                </c:pt>
                <c:pt idx="459">
                  <c:v>43408</c:v>
                </c:pt>
                <c:pt idx="460">
                  <c:v>43425</c:v>
                </c:pt>
                <c:pt idx="461">
                  <c:v>43506</c:v>
                </c:pt>
                <c:pt idx="462">
                  <c:v>43564</c:v>
                </c:pt>
                <c:pt idx="463">
                  <c:v>43617</c:v>
                </c:pt>
                <c:pt idx="464">
                  <c:v>43674</c:v>
                </c:pt>
                <c:pt idx="465">
                  <c:v>43724</c:v>
                </c:pt>
                <c:pt idx="466">
                  <c:v>43743</c:v>
                </c:pt>
                <c:pt idx="467">
                  <c:v>43753</c:v>
                </c:pt>
                <c:pt idx="468">
                  <c:v>43806</c:v>
                </c:pt>
                <c:pt idx="469">
                  <c:v>43870</c:v>
                </c:pt>
                <c:pt idx="470">
                  <c:v>43914</c:v>
                </c:pt>
                <c:pt idx="471">
                  <c:v>43940</c:v>
                </c:pt>
                <c:pt idx="472">
                  <c:v>43968</c:v>
                </c:pt>
                <c:pt idx="473">
                  <c:v>43978</c:v>
                </c:pt>
                <c:pt idx="474">
                  <c:v>43991</c:v>
                </c:pt>
                <c:pt idx="475">
                  <c:v>44035</c:v>
                </c:pt>
                <c:pt idx="476">
                  <c:v>44056</c:v>
                </c:pt>
                <c:pt idx="477">
                  <c:v>44068</c:v>
                </c:pt>
                <c:pt idx="478">
                  <c:v>44077</c:v>
                </c:pt>
                <c:pt idx="479">
                  <c:v>44085</c:v>
                </c:pt>
                <c:pt idx="480">
                  <c:v>44093</c:v>
                </c:pt>
                <c:pt idx="481">
                  <c:v>44098</c:v>
                </c:pt>
                <c:pt idx="482">
                  <c:v>44118</c:v>
                </c:pt>
                <c:pt idx="483">
                  <c:v>44142</c:v>
                </c:pt>
                <c:pt idx="484">
                  <c:v>44158</c:v>
                </c:pt>
                <c:pt idx="485">
                  <c:v>44170</c:v>
                </c:pt>
                <c:pt idx="486">
                  <c:v>44186</c:v>
                </c:pt>
                <c:pt idx="487">
                  <c:v>44190</c:v>
                </c:pt>
                <c:pt idx="488">
                  <c:v>44194</c:v>
                </c:pt>
                <c:pt idx="489">
                  <c:v>44219</c:v>
                </c:pt>
                <c:pt idx="490">
                  <c:v>44239</c:v>
                </c:pt>
                <c:pt idx="491">
                  <c:v>44251</c:v>
                </c:pt>
                <c:pt idx="492">
                  <c:v>44267</c:v>
                </c:pt>
                <c:pt idx="493">
                  <c:v>44284</c:v>
                </c:pt>
                <c:pt idx="494">
                  <c:v>44288</c:v>
                </c:pt>
                <c:pt idx="495">
                  <c:v>44293</c:v>
                </c:pt>
                <c:pt idx="496">
                  <c:v>44312</c:v>
                </c:pt>
                <c:pt idx="497">
                  <c:v>44331</c:v>
                </c:pt>
                <c:pt idx="498">
                  <c:v>44344</c:v>
                </c:pt>
                <c:pt idx="499">
                  <c:v>44360</c:v>
                </c:pt>
                <c:pt idx="500">
                  <c:v>44380</c:v>
                </c:pt>
                <c:pt idx="501">
                  <c:v>44387</c:v>
                </c:pt>
                <c:pt idx="502">
                  <c:v>44402</c:v>
                </c:pt>
                <c:pt idx="503">
                  <c:v>44470</c:v>
                </c:pt>
                <c:pt idx="504">
                  <c:v>44518</c:v>
                </c:pt>
                <c:pt idx="505">
                  <c:v>44572</c:v>
                </c:pt>
                <c:pt idx="506">
                  <c:v>44642</c:v>
                </c:pt>
                <c:pt idx="507">
                  <c:v>44727</c:v>
                </c:pt>
                <c:pt idx="508">
                  <c:v>44779</c:v>
                </c:pt>
                <c:pt idx="509">
                  <c:v>44801</c:v>
                </c:pt>
                <c:pt idx="510">
                  <c:v>44942</c:v>
                </c:pt>
                <c:pt idx="511">
                  <c:v>45085</c:v>
                </c:pt>
                <c:pt idx="512">
                  <c:v>45224</c:v>
                </c:pt>
                <c:pt idx="513">
                  <c:v>45309</c:v>
                </c:pt>
                <c:pt idx="514">
                  <c:v>45428</c:v>
                </c:pt>
                <c:pt idx="515">
                  <c:v>45462</c:v>
                </c:pt>
                <c:pt idx="516">
                  <c:v>45499</c:v>
                </c:pt>
                <c:pt idx="517">
                  <c:v>45657</c:v>
                </c:pt>
                <c:pt idx="518">
                  <c:v>45827</c:v>
                </c:pt>
                <c:pt idx="519">
                  <c:v>45942</c:v>
                </c:pt>
                <c:pt idx="520">
                  <c:v>46034</c:v>
                </c:pt>
                <c:pt idx="521">
                  <c:v>46175</c:v>
                </c:pt>
                <c:pt idx="522">
                  <c:v>46227</c:v>
                </c:pt>
                <c:pt idx="523">
                  <c:v>46267</c:v>
                </c:pt>
                <c:pt idx="524">
                  <c:v>46489</c:v>
                </c:pt>
                <c:pt idx="525">
                  <c:v>46631</c:v>
                </c:pt>
                <c:pt idx="526">
                  <c:v>46725</c:v>
                </c:pt>
                <c:pt idx="527">
                  <c:v>46834</c:v>
                </c:pt>
                <c:pt idx="528">
                  <c:v>46950</c:v>
                </c:pt>
                <c:pt idx="529">
                  <c:v>46992</c:v>
                </c:pt>
                <c:pt idx="530">
                  <c:v>47035</c:v>
                </c:pt>
                <c:pt idx="531">
                  <c:v>47187</c:v>
                </c:pt>
                <c:pt idx="532">
                  <c:v>47316</c:v>
                </c:pt>
                <c:pt idx="533">
                  <c:v>47435</c:v>
                </c:pt>
                <c:pt idx="534">
                  <c:v>47557</c:v>
                </c:pt>
                <c:pt idx="535">
                  <c:v>47625</c:v>
                </c:pt>
                <c:pt idx="536">
                  <c:v>47657</c:v>
                </c:pt>
                <c:pt idx="537">
                  <c:v>47681</c:v>
                </c:pt>
                <c:pt idx="538">
                  <c:v>47785</c:v>
                </c:pt>
                <c:pt idx="539">
                  <c:v>47886</c:v>
                </c:pt>
                <c:pt idx="540">
                  <c:v>47973</c:v>
                </c:pt>
                <c:pt idx="541">
                  <c:v>48028</c:v>
                </c:pt>
                <c:pt idx="542">
                  <c:v>48094</c:v>
                </c:pt>
                <c:pt idx="543">
                  <c:v>48115</c:v>
                </c:pt>
                <c:pt idx="544">
                  <c:v>48132</c:v>
                </c:pt>
                <c:pt idx="545">
                  <c:v>48216</c:v>
                </c:pt>
                <c:pt idx="546">
                  <c:v>48272</c:v>
                </c:pt>
                <c:pt idx="547">
                  <c:v>48330</c:v>
                </c:pt>
                <c:pt idx="548">
                  <c:v>48366</c:v>
                </c:pt>
                <c:pt idx="549">
                  <c:v>48400</c:v>
                </c:pt>
                <c:pt idx="550">
                  <c:v>48422</c:v>
                </c:pt>
                <c:pt idx="551">
                  <c:v>48434</c:v>
                </c:pt>
                <c:pt idx="552">
                  <c:v>48509</c:v>
                </c:pt>
                <c:pt idx="553">
                  <c:v>48588</c:v>
                </c:pt>
                <c:pt idx="554">
                  <c:v>48643</c:v>
                </c:pt>
                <c:pt idx="555">
                  <c:v>48683</c:v>
                </c:pt>
                <c:pt idx="556">
                  <c:v>48737</c:v>
                </c:pt>
                <c:pt idx="557">
                  <c:v>48750</c:v>
                </c:pt>
                <c:pt idx="558">
                  <c:v>48758</c:v>
                </c:pt>
                <c:pt idx="559">
                  <c:v>48807</c:v>
                </c:pt>
                <c:pt idx="560">
                  <c:v>48871</c:v>
                </c:pt>
                <c:pt idx="561">
                  <c:v>48914</c:v>
                </c:pt>
                <c:pt idx="562">
                  <c:v>48942</c:v>
                </c:pt>
                <c:pt idx="563">
                  <c:v>489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C3-4558-95C0-65D81E5CA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evale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565</c:f>
              <c:numCache>
                <c:formatCode>m/d/yyyy</c:formatCode>
                <c:ptCount val="56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</c:numCache>
            </c:numRef>
          </c:cat>
          <c:val>
            <c:numRef>
              <c:f>List1!$B$2:$B$565</c:f>
              <c:numCache>
                <c:formatCode>General</c:formatCode>
                <c:ptCount val="564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7</c:v>
                </c:pt>
                <c:pt idx="9">
                  <c:v>7</c:v>
                </c:pt>
                <c:pt idx="10">
                  <c:v>6</c:v>
                </c:pt>
                <c:pt idx="11">
                  <c:v>10</c:v>
                </c:pt>
                <c:pt idx="12">
                  <c:v>1</c:v>
                </c:pt>
                <c:pt idx="13">
                  <c:v>9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4</c:v>
                </c:pt>
                <c:pt idx="24">
                  <c:v>2</c:v>
                </c:pt>
                <c:pt idx="25">
                  <c:v>7</c:v>
                </c:pt>
                <c:pt idx="26">
                  <c:v>9</c:v>
                </c:pt>
                <c:pt idx="27">
                  <c:v>7</c:v>
                </c:pt>
                <c:pt idx="28">
                  <c:v>11</c:v>
                </c:pt>
                <c:pt idx="29">
                  <c:v>38</c:v>
                </c:pt>
                <c:pt idx="30">
                  <c:v>67</c:v>
                </c:pt>
                <c:pt idx="31">
                  <c:v>123</c:v>
                </c:pt>
                <c:pt idx="32">
                  <c:v>157</c:v>
                </c:pt>
                <c:pt idx="33">
                  <c:v>211</c:v>
                </c:pt>
                <c:pt idx="34">
                  <c:v>366</c:v>
                </c:pt>
                <c:pt idx="35">
                  <c:v>438</c:v>
                </c:pt>
                <c:pt idx="36">
                  <c:v>475</c:v>
                </c:pt>
                <c:pt idx="37">
                  <c:v>544</c:v>
                </c:pt>
                <c:pt idx="38">
                  <c:v>676</c:v>
                </c:pt>
                <c:pt idx="39">
                  <c:v>696</c:v>
                </c:pt>
                <c:pt idx="40">
                  <c:v>665</c:v>
                </c:pt>
                <c:pt idx="41">
                  <c:v>777</c:v>
                </c:pt>
                <c:pt idx="42">
                  <c:v>950</c:v>
                </c:pt>
                <c:pt idx="43">
                  <c:v>1081</c:v>
                </c:pt>
                <c:pt idx="44">
                  <c:v>1256</c:v>
                </c:pt>
                <c:pt idx="45">
                  <c:v>1384</c:v>
                </c:pt>
                <c:pt idx="46">
                  <c:v>1461</c:v>
                </c:pt>
                <c:pt idx="47">
                  <c:v>1414</c:v>
                </c:pt>
                <c:pt idx="48">
                  <c:v>1588</c:v>
                </c:pt>
                <c:pt idx="49">
                  <c:v>1704</c:v>
                </c:pt>
                <c:pt idx="50">
                  <c:v>1983</c:v>
                </c:pt>
                <c:pt idx="51">
                  <c:v>2151</c:v>
                </c:pt>
                <c:pt idx="52">
                  <c:v>2444</c:v>
                </c:pt>
                <c:pt idx="53">
                  <c:v>2527</c:v>
                </c:pt>
                <c:pt idx="54">
                  <c:v>2572</c:v>
                </c:pt>
                <c:pt idx="55">
                  <c:v>2756</c:v>
                </c:pt>
                <c:pt idx="56">
                  <c:v>3100</c:v>
                </c:pt>
                <c:pt idx="57">
                  <c:v>3130</c:v>
                </c:pt>
                <c:pt idx="58">
                  <c:v>3578</c:v>
                </c:pt>
                <c:pt idx="59">
                  <c:v>3875</c:v>
                </c:pt>
                <c:pt idx="60">
                  <c:v>3964</c:v>
                </c:pt>
                <c:pt idx="61">
                  <c:v>3860</c:v>
                </c:pt>
                <c:pt idx="62">
                  <c:v>3925</c:v>
                </c:pt>
                <c:pt idx="63">
                  <c:v>3866</c:v>
                </c:pt>
                <c:pt idx="64">
                  <c:v>4080</c:v>
                </c:pt>
                <c:pt idx="65">
                  <c:v>4417</c:v>
                </c:pt>
                <c:pt idx="66">
                  <c:v>4285</c:v>
                </c:pt>
                <c:pt idx="67">
                  <c:v>3934</c:v>
                </c:pt>
                <c:pt idx="68">
                  <c:v>3856</c:v>
                </c:pt>
                <c:pt idx="69">
                  <c:v>3612</c:v>
                </c:pt>
                <c:pt idx="70">
                  <c:v>3489</c:v>
                </c:pt>
                <c:pt idx="71">
                  <c:v>3915</c:v>
                </c:pt>
                <c:pt idx="72">
                  <c:v>4301</c:v>
                </c:pt>
                <c:pt idx="73">
                  <c:v>4348</c:v>
                </c:pt>
                <c:pt idx="74">
                  <c:v>4011</c:v>
                </c:pt>
                <c:pt idx="75">
                  <c:v>3896</c:v>
                </c:pt>
                <c:pt idx="76">
                  <c:v>3915</c:v>
                </c:pt>
                <c:pt idx="77">
                  <c:v>3696</c:v>
                </c:pt>
                <c:pt idx="78">
                  <c:v>3890</c:v>
                </c:pt>
                <c:pt idx="79">
                  <c:v>4044</c:v>
                </c:pt>
                <c:pt idx="80">
                  <c:v>4104</c:v>
                </c:pt>
                <c:pt idx="81">
                  <c:v>3721</c:v>
                </c:pt>
                <c:pt idx="82">
                  <c:v>3448</c:v>
                </c:pt>
                <c:pt idx="83">
                  <c:v>3577</c:v>
                </c:pt>
                <c:pt idx="84">
                  <c:v>3289</c:v>
                </c:pt>
                <c:pt idx="85">
                  <c:v>3287</c:v>
                </c:pt>
                <c:pt idx="86">
                  <c:v>3382</c:v>
                </c:pt>
                <c:pt idx="87">
                  <c:v>3144</c:v>
                </c:pt>
                <c:pt idx="88">
                  <c:v>3112</c:v>
                </c:pt>
                <c:pt idx="89">
                  <c:v>2856</c:v>
                </c:pt>
                <c:pt idx="90">
                  <c:v>2759</c:v>
                </c:pt>
                <c:pt idx="91">
                  <c:v>2574</c:v>
                </c:pt>
                <c:pt idx="92">
                  <c:v>2608</c:v>
                </c:pt>
                <c:pt idx="93">
                  <c:v>2668</c:v>
                </c:pt>
                <c:pt idx="94">
                  <c:v>2562</c:v>
                </c:pt>
                <c:pt idx="95">
                  <c:v>2390</c:v>
                </c:pt>
                <c:pt idx="96">
                  <c:v>2239</c:v>
                </c:pt>
                <c:pt idx="97">
                  <c:v>2192</c:v>
                </c:pt>
                <c:pt idx="98">
                  <c:v>2048</c:v>
                </c:pt>
                <c:pt idx="99">
                  <c:v>2101</c:v>
                </c:pt>
                <c:pt idx="100">
                  <c:v>2152</c:v>
                </c:pt>
                <c:pt idx="101">
                  <c:v>2146</c:v>
                </c:pt>
                <c:pt idx="102">
                  <c:v>2049</c:v>
                </c:pt>
                <c:pt idx="103">
                  <c:v>2003</c:v>
                </c:pt>
                <c:pt idx="104">
                  <c:v>2013</c:v>
                </c:pt>
                <c:pt idx="105">
                  <c:v>1995</c:v>
                </c:pt>
                <c:pt idx="106">
                  <c:v>1995</c:v>
                </c:pt>
                <c:pt idx="107">
                  <c:v>2001</c:v>
                </c:pt>
                <c:pt idx="108">
                  <c:v>2051</c:v>
                </c:pt>
                <c:pt idx="109">
                  <c:v>1922</c:v>
                </c:pt>
                <c:pt idx="110">
                  <c:v>1857</c:v>
                </c:pt>
                <c:pt idx="111">
                  <c:v>1907</c:v>
                </c:pt>
                <c:pt idx="112">
                  <c:v>1921</c:v>
                </c:pt>
                <c:pt idx="113">
                  <c:v>1945</c:v>
                </c:pt>
                <c:pt idx="114">
                  <c:v>1911</c:v>
                </c:pt>
                <c:pt idx="115">
                  <c:v>1809</c:v>
                </c:pt>
                <c:pt idx="116">
                  <c:v>1784</c:v>
                </c:pt>
                <c:pt idx="117">
                  <c:v>1782</c:v>
                </c:pt>
                <c:pt idx="118">
                  <c:v>1828</c:v>
                </c:pt>
                <c:pt idx="119">
                  <c:v>1874</c:v>
                </c:pt>
                <c:pt idx="120">
                  <c:v>1976</c:v>
                </c:pt>
                <c:pt idx="121">
                  <c:v>2059</c:v>
                </c:pt>
                <c:pt idx="122">
                  <c:v>1926</c:v>
                </c:pt>
                <c:pt idx="123">
                  <c:v>1894</c:v>
                </c:pt>
                <c:pt idx="124">
                  <c:v>1729</c:v>
                </c:pt>
                <c:pt idx="125">
                  <c:v>1962</c:v>
                </c:pt>
                <c:pt idx="126">
                  <c:v>2054</c:v>
                </c:pt>
                <c:pt idx="127">
                  <c:v>2143</c:v>
                </c:pt>
                <c:pt idx="128">
                  <c:v>2289</c:v>
                </c:pt>
                <c:pt idx="129">
                  <c:v>2294</c:v>
                </c:pt>
                <c:pt idx="130">
                  <c:v>2162</c:v>
                </c:pt>
                <c:pt idx="131">
                  <c:v>2019</c:v>
                </c:pt>
                <c:pt idx="132">
                  <c:v>2166</c:v>
                </c:pt>
                <c:pt idx="133">
                  <c:v>2229</c:v>
                </c:pt>
                <c:pt idx="134">
                  <c:v>2331</c:v>
                </c:pt>
                <c:pt idx="135">
                  <c:v>2380</c:v>
                </c:pt>
                <c:pt idx="136">
                  <c:v>2302</c:v>
                </c:pt>
                <c:pt idx="137">
                  <c:v>2105</c:v>
                </c:pt>
                <c:pt idx="138">
                  <c:v>1951</c:v>
                </c:pt>
                <c:pt idx="139">
                  <c:v>1898</c:v>
                </c:pt>
                <c:pt idx="140">
                  <c:v>1784</c:v>
                </c:pt>
                <c:pt idx="141">
                  <c:v>1866</c:v>
                </c:pt>
                <c:pt idx="142">
                  <c:v>1938</c:v>
                </c:pt>
                <c:pt idx="143">
                  <c:v>1811</c:v>
                </c:pt>
                <c:pt idx="144">
                  <c:v>1741</c:v>
                </c:pt>
                <c:pt idx="145">
                  <c:v>1642</c:v>
                </c:pt>
                <c:pt idx="146">
                  <c:v>1605</c:v>
                </c:pt>
                <c:pt idx="147">
                  <c:v>1549</c:v>
                </c:pt>
                <c:pt idx="148">
                  <c:v>1600</c:v>
                </c:pt>
                <c:pt idx="149">
                  <c:v>1638</c:v>
                </c:pt>
                <c:pt idx="150">
                  <c:v>1497</c:v>
                </c:pt>
                <c:pt idx="151">
                  <c:v>1454</c:v>
                </c:pt>
                <c:pt idx="152">
                  <c:v>1318</c:v>
                </c:pt>
                <c:pt idx="153">
                  <c:v>1347</c:v>
                </c:pt>
                <c:pt idx="154">
                  <c:v>1372</c:v>
                </c:pt>
                <c:pt idx="155">
                  <c:v>1427</c:v>
                </c:pt>
                <c:pt idx="156">
                  <c:v>1458</c:v>
                </c:pt>
                <c:pt idx="157">
                  <c:v>1429</c:v>
                </c:pt>
                <c:pt idx="158">
                  <c:v>1368</c:v>
                </c:pt>
                <c:pt idx="159">
                  <c:v>1313</c:v>
                </c:pt>
                <c:pt idx="160">
                  <c:v>1329</c:v>
                </c:pt>
                <c:pt idx="161">
                  <c:v>1323</c:v>
                </c:pt>
                <c:pt idx="162">
                  <c:v>1363</c:v>
                </c:pt>
                <c:pt idx="163">
                  <c:v>1414</c:v>
                </c:pt>
                <c:pt idx="164">
                  <c:v>1375</c:v>
                </c:pt>
                <c:pt idx="165">
                  <c:v>1255</c:v>
                </c:pt>
                <c:pt idx="166">
                  <c:v>1164</c:v>
                </c:pt>
                <c:pt idx="167">
                  <c:v>1142</c:v>
                </c:pt>
                <c:pt idx="168">
                  <c:v>1059</c:v>
                </c:pt>
                <c:pt idx="169">
                  <c:v>1037</c:v>
                </c:pt>
                <c:pt idx="170">
                  <c:v>1055</c:v>
                </c:pt>
                <c:pt idx="171">
                  <c:v>994</c:v>
                </c:pt>
                <c:pt idx="172">
                  <c:v>934</c:v>
                </c:pt>
                <c:pt idx="173">
                  <c:v>864</c:v>
                </c:pt>
                <c:pt idx="174">
                  <c:v>908</c:v>
                </c:pt>
                <c:pt idx="175">
                  <c:v>882</c:v>
                </c:pt>
                <c:pt idx="176">
                  <c:v>893</c:v>
                </c:pt>
                <c:pt idx="177">
                  <c:v>922</c:v>
                </c:pt>
                <c:pt idx="178">
                  <c:v>913</c:v>
                </c:pt>
                <c:pt idx="179">
                  <c:v>881</c:v>
                </c:pt>
                <c:pt idx="180">
                  <c:v>860</c:v>
                </c:pt>
                <c:pt idx="181">
                  <c:v>909</c:v>
                </c:pt>
                <c:pt idx="182">
                  <c:v>876</c:v>
                </c:pt>
                <c:pt idx="183">
                  <c:v>882</c:v>
                </c:pt>
                <c:pt idx="184">
                  <c:v>878</c:v>
                </c:pt>
                <c:pt idx="185">
                  <c:v>811</c:v>
                </c:pt>
                <c:pt idx="186">
                  <c:v>782</c:v>
                </c:pt>
                <c:pt idx="187">
                  <c:v>739</c:v>
                </c:pt>
                <c:pt idx="188">
                  <c:v>734</c:v>
                </c:pt>
                <c:pt idx="189">
                  <c:v>793</c:v>
                </c:pt>
                <c:pt idx="190">
                  <c:v>846</c:v>
                </c:pt>
                <c:pt idx="191">
                  <c:v>848</c:v>
                </c:pt>
                <c:pt idx="192">
                  <c:v>875</c:v>
                </c:pt>
                <c:pt idx="193">
                  <c:v>872</c:v>
                </c:pt>
                <c:pt idx="194">
                  <c:v>873</c:v>
                </c:pt>
                <c:pt idx="195">
                  <c:v>899</c:v>
                </c:pt>
                <c:pt idx="196">
                  <c:v>835</c:v>
                </c:pt>
                <c:pt idx="197">
                  <c:v>818</c:v>
                </c:pt>
                <c:pt idx="198">
                  <c:v>803</c:v>
                </c:pt>
                <c:pt idx="199">
                  <c:v>803</c:v>
                </c:pt>
                <c:pt idx="200">
                  <c:v>784</c:v>
                </c:pt>
                <c:pt idx="201">
                  <c:v>783</c:v>
                </c:pt>
                <c:pt idx="202">
                  <c:v>787</c:v>
                </c:pt>
                <c:pt idx="203">
                  <c:v>791</c:v>
                </c:pt>
                <c:pt idx="204">
                  <c:v>757</c:v>
                </c:pt>
                <c:pt idx="205">
                  <c:v>752</c:v>
                </c:pt>
                <c:pt idx="206">
                  <c:v>735</c:v>
                </c:pt>
                <c:pt idx="207">
                  <c:v>700</c:v>
                </c:pt>
                <c:pt idx="208">
                  <c:v>699</c:v>
                </c:pt>
                <c:pt idx="209">
                  <c:v>712</c:v>
                </c:pt>
                <c:pt idx="210">
                  <c:v>682</c:v>
                </c:pt>
                <c:pt idx="211">
                  <c:v>675</c:v>
                </c:pt>
                <c:pt idx="212">
                  <c:v>660</c:v>
                </c:pt>
                <c:pt idx="213">
                  <c:v>631</c:v>
                </c:pt>
                <c:pt idx="214">
                  <c:v>621</c:v>
                </c:pt>
                <c:pt idx="215">
                  <c:v>619</c:v>
                </c:pt>
                <c:pt idx="216">
                  <c:v>617</c:v>
                </c:pt>
                <c:pt idx="217">
                  <c:v>587</c:v>
                </c:pt>
                <c:pt idx="218">
                  <c:v>585</c:v>
                </c:pt>
                <c:pt idx="219">
                  <c:v>570</c:v>
                </c:pt>
                <c:pt idx="220">
                  <c:v>540</c:v>
                </c:pt>
                <c:pt idx="221">
                  <c:v>535</c:v>
                </c:pt>
                <c:pt idx="222">
                  <c:v>534</c:v>
                </c:pt>
                <c:pt idx="223">
                  <c:v>535</c:v>
                </c:pt>
                <c:pt idx="224">
                  <c:v>524</c:v>
                </c:pt>
                <c:pt idx="225">
                  <c:v>504</c:v>
                </c:pt>
                <c:pt idx="226">
                  <c:v>492</c:v>
                </c:pt>
                <c:pt idx="227">
                  <c:v>476</c:v>
                </c:pt>
                <c:pt idx="228">
                  <c:v>474</c:v>
                </c:pt>
                <c:pt idx="229">
                  <c:v>476</c:v>
                </c:pt>
                <c:pt idx="230">
                  <c:v>482</c:v>
                </c:pt>
                <c:pt idx="231">
                  <c:v>476</c:v>
                </c:pt>
                <c:pt idx="232">
                  <c:v>468</c:v>
                </c:pt>
                <c:pt idx="233">
                  <c:v>477</c:v>
                </c:pt>
                <c:pt idx="234">
                  <c:v>481</c:v>
                </c:pt>
                <c:pt idx="235">
                  <c:v>473</c:v>
                </c:pt>
                <c:pt idx="236">
                  <c:v>472</c:v>
                </c:pt>
                <c:pt idx="237">
                  <c:v>473</c:v>
                </c:pt>
                <c:pt idx="238">
                  <c:v>472</c:v>
                </c:pt>
                <c:pt idx="239">
                  <c:v>470</c:v>
                </c:pt>
                <c:pt idx="240">
                  <c:v>469</c:v>
                </c:pt>
                <c:pt idx="241">
                  <c:v>469</c:v>
                </c:pt>
                <c:pt idx="242">
                  <c:v>463</c:v>
                </c:pt>
                <c:pt idx="243">
                  <c:v>463</c:v>
                </c:pt>
                <c:pt idx="244">
                  <c:v>465</c:v>
                </c:pt>
                <c:pt idx="245">
                  <c:v>460</c:v>
                </c:pt>
                <c:pt idx="246">
                  <c:v>457</c:v>
                </c:pt>
                <c:pt idx="247">
                  <c:v>451</c:v>
                </c:pt>
                <c:pt idx="248">
                  <c:v>450</c:v>
                </c:pt>
                <c:pt idx="249">
                  <c:v>443</c:v>
                </c:pt>
                <c:pt idx="250">
                  <c:v>446</c:v>
                </c:pt>
                <c:pt idx="251">
                  <c:v>450</c:v>
                </c:pt>
                <c:pt idx="252">
                  <c:v>450</c:v>
                </c:pt>
                <c:pt idx="253">
                  <c:v>447</c:v>
                </c:pt>
                <c:pt idx="254">
                  <c:v>447</c:v>
                </c:pt>
                <c:pt idx="255">
                  <c:v>447</c:v>
                </c:pt>
                <c:pt idx="256">
                  <c:v>443</c:v>
                </c:pt>
                <c:pt idx="257">
                  <c:v>442</c:v>
                </c:pt>
                <c:pt idx="258">
                  <c:v>444</c:v>
                </c:pt>
                <c:pt idx="259">
                  <c:v>440</c:v>
                </c:pt>
                <c:pt idx="260">
                  <c:v>442</c:v>
                </c:pt>
                <c:pt idx="261">
                  <c:v>439</c:v>
                </c:pt>
                <c:pt idx="262">
                  <c:v>438</c:v>
                </c:pt>
                <c:pt idx="263">
                  <c:v>437</c:v>
                </c:pt>
                <c:pt idx="264">
                  <c:v>436</c:v>
                </c:pt>
                <c:pt idx="265">
                  <c:v>437</c:v>
                </c:pt>
                <c:pt idx="266">
                  <c:v>436</c:v>
                </c:pt>
                <c:pt idx="267">
                  <c:v>435</c:v>
                </c:pt>
                <c:pt idx="268">
                  <c:v>433</c:v>
                </c:pt>
                <c:pt idx="269">
                  <c:v>432</c:v>
                </c:pt>
                <c:pt idx="270">
                  <c:v>432</c:v>
                </c:pt>
                <c:pt idx="271">
                  <c:v>429</c:v>
                </c:pt>
                <c:pt idx="272">
                  <c:v>429</c:v>
                </c:pt>
                <c:pt idx="273">
                  <c:v>427</c:v>
                </c:pt>
                <c:pt idx="274">
                  <c:v>430</c:v>
                </c:pt>
                <c:pt idx="275">
                  <c:v>426</c:v>
                </c:pt>
                <c:pt idx="276">
                  <c:v>422</c:v>
                </c:pt>
                <c:pt idx="277">
                  <c:v>421</c:v>
                </c:pt>
                <c:pt idx="278">
                  <c:v>421</c:v>
                </c:pt>
                <c:pt idx="279">
                  <c:v>422</c:v>
                </c:pt>
                <c:pt idx="280">
                  <c:v>422</c:v>
                </c:pt>
                <c:pt idx="281">
                  <c:v>421</c:v>
                </c:pt>
                <c:pt idx="282">
                  <c:v>420</c:v>
                </c:pt>
                <c:pt idx="283">
                  <c:v>421</c:v>
                </c:pt>
                <c:pt idx="284">
                  <c:v>419</c:v>
                </c:pt>
                <c:pt idx="285">
                  <c:v>418</c:v>
                </c:pt>
                <c:pt idx="286">
                  <c:v>418</c:v>
                </c:pt>
                <c:pt idx="287">
                  <c:v>418</c:v>
                </c:pt>
                <c:pt idx="288">
                  <c:v>418</c:v>
                </c:pt>
                <c:pt idx="289">
                  <c:v>418</c:v>
                </c:pt>
                <c:pt idx="290">
                  <c:v>418</c:v>
                </c:pt>
                <c:pt idx="291">
                  <c:v>418</c:v>
                </c:pt>
                <c:pt idx="292">
                  <c:v>418</c:v>
                </c:pt>
                <c:pt idx="293">
                  <c:v>418</c:v>
                </c:pt>
                <c:pt idx="294">
                  <c:v>418</c:v>
                </c:pt>
                <c:pt idx="295">
                  <c:v>419</c:v>
                </c:pt>
                <c:pt idx="296">
                  <c:v>419</c:v>
                </c:pt>
                <c:pt idx="297">
                  <c:v>418</c:v>
                </c:pt>
                <c:pt idx="298">
                  <c:v>418</c:v>
                </c:pt>
                <c:pt idx="299">
                  <c:v>418</c:v>
                </c:pt>
                <c:pt idx="300">
                  <c:v>418</c:v>
                </c:pt>
                <c:pt idx="301">
                  <c:v>418</c:v>
                </c:pt>
                <c:pt idx="302">
                  <c:v>417</c:v>
                </c:pt>
                <c:pt idx="303">
                  <c:v>418</c:v>
                </c:pt>
                <c:pt idx="304">
                  <c:v>416</c:v>
                </c:pt>
                <c:pt idx="305">
                  <c:v>416</c:v>
                </c:pt>
                <c:pt idx="306">
                  <c:v>417</c:v>
                </c:pt>
                <c:pt idx="307">
                  <c:v>417</c:v>
                </c:pt>
                <c:pt idx="308">
                  <c:v>418</c:v>
                </c:pt>
                <c:pt idx="309">
                  <c:v>418</c:v>
                </c:pt>
                <c:pt idx="310">
                  <c:v>417</c:v>
                </c:pt>
                <c:pt idx="311">
                  <c:v>417</c:v>
                </c:pt>
                <c:pt idx="312">
                  <c:v>417</c:v>
                </c:pt>
                <c:pt idx="313">
                  <c:v>417</c:v>
                </c:pt>
                <c:pt idx="314">
                  <c:v>417</c:v>
                </c:pt>
                <c:pt idx="315">
                  <c:v>417</c:v>
                </c:pt>
                <c:pt idx="316">
                  <c:v>417</c:v>
                </c:pt>
                <c:pt idx="317">
                  <c:v>417</c:v>
                </c:pt>
                <c:pt idx="318">
                  <c:v>417</c:v>
                </c:pt>
                <c:pt idx="319">
                  <c:v>417</c:v>
                </c:pt>
                <c:pt idx="320">
                  <c:v>417</c:v>
                </c:pt>
                <c:pt idx="321">
                  <c:v>417</c:v>
                </c:pt>
                <c:pt idx="322">
                  <c:v>416</c:v>
                </c:pt>
                <c:pt idx="323">
                  <c:v>416</c:v>
                </c:pt>
                <c:pt idx="324">
                  <c:v>416</c:v>
                </c:pt>
                <c:pt idx="325">
                  <c:v>416</c:v>
                </c:pt>
                <c:pt idx="326">
                  <c:v>417</c:v>
                </c:pt>
                <c:pt idx="327">
                  <c:v>416</c:v>
                </c:pt>
                <c:pt idx="328">
                  <c:v>416</c:v>
                </c:pt>
                <c:pt idx="329">
                  <c:v>416</c:v>
                </c:pt>
                <c:pt idx="330">
                  <c:v>416</c:v>
                </c:pt>
                <c:pt idx="331">
                  <c:v>416</c:v>
                </c:pt>
                <c:pt idx="332">
                  <c:v>416</c:v>
                </c:pt>
                <c:pt idx="333">
                  <c:v>416</c:v>
                </c:pt>
                <c:pt idx="334">
                  <c:v>416</c:v>
                </c:pt>
                <c:pt idx="335">
                  <c:v>416</c:v>
                </c:pt>
                <c:pt idx="336">
                  <c:v>415</c:v>
                </c:pt>
                <c:pt idx="337">
                  <c:v>415</c:v>
                </c:pt>
                <c:pt idx="338">
                  <c:v>415</c:v>
                </c:pt>
                <c:pt idx="339">
                  <c:v>415</c:v>
                </c:pt>
                <c:pt idx="340">
                  <c:v>415</c:v>
                </c:pt>
                <c:pt idx="341">
                  <c:v>415</c:v>
                </c:pt>
                <c:pt idx="342">
                  <c:v>415</c:v>
                </c:pt>
                <c:pt idx="343">
                  <c:v>415</c:v>
                </c:pt>
                <c:pt idx="344">
                  <c:v>415</c:v>
                </c:pt>
                <c:pt idx="345">
                  <c:v>415</c:v>
                </c:pt>
                <c:pt idx="346">
                  <c:v>415</c:v>
                </c:pt>
                <c:pt idx="347">
                  <c:v>415</c:v>
                </c:pt>
                <c:pt idx="348">
                  <c:v>415</c:v>
                </c:pt>
                <c:pt idx="349">
                  <c:v>416</c:v>
                </c:pt>
                <c:pt idx="350">
                  <c:v>417</c:v>
                </c:pt>
                <c:pt idx="351">
                  <c:v>417</c:v>
                </c:pt>
                <c:pt idx="352">
                  <c:v>418</c:v>
                </c:pt>
                <c:pt idx="353">
                  <c:v>417</c:v>
                </c:pt>
                <c:pt idx="354">
                  <c:v>417</c:v>
                </c:pt>
                <c:pt idx="355">
                  <c:v>417</c:v>
                </c:pt>
                <c:pt idx="356">
                  <c:v>419</c:v>
                </c:pt>
                <c:pt idx="357">
                  <c:v>419</c:v>
                </c:pt>
                <c:pt idx="358">
                  <c:v>419</c:v>
                </c:pt>
                <c:pt idx="359">
                  <c:v>419</c:v>
                </c:pt>
                <c:pt idx="360">
                  <c:v>419</c:v>
                </c:pt>
                <c:pt idx="361">
                  <c:v>418</c:v>
                </c:pt>
                <c:pt idx="362">
                  <c:v>418</c:v>
                </c:pt>
                <c:pt idx="363">
                  <c:v>418</c:v>
                </c:pt>
                <c:pt idx="364">
                  <c:v>418</c:v>
                </c:pt>
                <c:pt idx="365">
                  <c:v>419</c:v>
                </c:pt>
                <c:pt idx="366">
                  <c:v>423</c:v>
                </c:pt>
                <c:pt idx="367">
                  <c:v>425</c:v>
                </c:pt>
                <c:pt idx="368">
                  <c:v>426</c:v>
                </c:pt>
                <c:pt idx="369">
                  <c:v>425</c:v>
                </c:pt>
                <c:pt idx="370">
                  <c:v>429</c:v>
                </c:pt>
                <c:pt idx="371">
                  <c:v>426</c:v>
                </c:pt>
                <c:pt idx="372">
                  <c:v>426</c:v>
                </c:pt>
                <c:pt idx="373">
                  <c:v>426</c:v>
                </c:pt>
                <c:pt idx="374">
                  <c:v>426</c:v>
                </c:pt>
                <c:pt idx="375">
                  <c:v>426</c:v>
                </c:pt>
                <c:pt idx="376">
                  <c:v>426</c:v>
                </c:pt>
                <c:pt idx="377">
                  <c:v>427</c:v>
                </c:pt>
                <c:pt idx="378">
                  <c:v>427</c:v>
                </c:pt>
                <c:pt idx="379">
                  <c:v>427</c:v>
                </c:pt>
                <c:pt idx="380">
                  <c:v>426</c:v>
                </c:pt>
                <c:pt idx="381">
                  <c:v>424</c:v>
                </c:pt>
                <c:pt idx="382">
                  <c:v>424</c:v>
                </c:pt>
                <c:pt idx="383">
                  <c:v>424</c:v>
                </c:pt>
                <c:pt idx="384">
                  <c:v>425</c:v>
                </c:pt>
                <c:pt idx="385">
                  <c:v>422</c:v>
                </c:pt>
                <c:pt idx="386">
                  <c:v>422</c:v>
                </c:pt>
                <c:pt idx="387">
                  <c:v>420</c:v>
                </c:pt>
                <c:pt idx="388">
                  <c:v>420</c:v>
                </c:pt>
                <c:pt idx="389">
                  <c:v>420</c:v>
                </c:pt>
                <c:pt idx="390">
                  <c:v>420</c:v>
                </c:pt>
                <c:pt idx="391">
                  <c:v>422</c:v>
                </c:pt>
                <c:pt idx="392">
                  <c:v>420</c:v>
                </c:pt>
                <c:pt idx="393">
                  <c:v>421</c:v>
                </c:pt>
                <c:pt idx="394">
                  <c:v>421</c:v>
                </c:pt>
                <c:pt idx="395">
                  <c:v>421</c:v>
                </c:pt>
                <c:pt idx="396">
                  <c:v>422</c:v>
                </c:pt>
                <c:pt idx="397">
                  <c:v>423</c:v>
                </c:pt>
                <c:pt idx="398">
                  <c:v>425</c:v>
                </c:pt>
                <c:pt idx="399">
                  <c:v>427</c:v>
                </c:pt>
                <c:pt idx="400">
                  <c:v>432</c:v>
                </c:pt>
                <c:pt idx="401">
                  <c:v>431</c:v>
                </c:pt>
                <c:pt idx="402">
                  <c:v>456</c:v>
                </c:pt>
                <c:pt idx="403">
                  <c:v>456</c:v>
                </c:pt>
                <c:pt idx="404">
                  <c:v>456</c:v>
                </c:pt>
                <c:pt idx="405">
                  <c:v>457</c:v>
                </c:pt>
                <c:pt idx="406">
                  <c:v>458</c:v>
                </c:pt>
                <c:pt idx="407">
                  <c:v>476</c:v>
                </c:pt>
                <c:pt idx="408">
                  <c:v>478</c:v>
                </c:pt>
                <c:pt idx="409">
                  <c:v>478</c:v>
                </c:pt>
                <c:pt idx="410">
                  <c:v>478</c:v>
                </c:pt>
                <c:pt idx="411">
                  <c:v>477</c:v>
                </c:pt>
                <c:pt idx="412">
                  <c:v>481</c:v>
                </c:pt>
                <c:pt idx="413">
                  <c:v>482</c:v>
                </c:pt>
                <c:pt idx="414">
                  <c:v>479</c:v>
                </c:pt>
                <c:pt idx="415">
                  <c:v>479</c:v>
                </c:pt>
                <c:pt idx="416">
                  <c:v>463</c:v>
                </c:pt>
                <c:pt idx="417">
                  <c:v>462</c:v>
                </c:pt>
                <c:pt idx="418">
                  <c:v>460</c:v>
                </c:pt>
                <c:pt idx="419">
                  <c:v>473</c:v>
                </c:pt>
                <c:pt idx="420">
                  <c:v>481</c:v>
                </c:pt>
                <c:pt idx="421">
                  <c:v>489</c:v>
                </c:pt>
                <c:pt idx="422">
                  <c:v>473</c:v>
                </c:pt>
                <c:pt idx="423">
                  <c:v>491</c:v>
                </c:pt>
                <c:pt idx="424">
                  <c:v>494</c:v>
                </c:pt>
                <c:pt idx="425">
                  <c:v>503</c:v>
                </c:pt>
                <c:pt idx="426">
                  <c:v>538</c:v>
                </c:pt>
                <c:pt idx="427">
                  <c:v>550</c:v>
                </c:pt>
                <c:pt idx="428">
                  <c:v>554</c:v>
                </c:pt>
                <c:pt idx="429">
                  <c:v>602</c:v>
                </c:pt>
                <c:pt idx="430">
                  <c:v>621</c:v>
                </c:pt>
                <c:pt idx="431">
                  <c:v>615</c:v>
                </c:pt>
                <c:pt idx="432">
                  <c:v>614</c:v>
                </c:pt>
                <c:pt idx="433">
                  <c:v>639</c:v>
                </c:pt>
                <c:pt idx="434">
                  <c:v>654</c:v>
                </c:pt>
                <c:pt idx="435">
                  <c:v>661</c:v>
                </c:pt>
                <c:pt idx="436">
                  <c:v>669</c:v>
                </c:pt>
                <c:pt idx="437">
                  <c:v>680</c:v>
                </c:pt>
                <c:pt idx="438">
                  <c:v>677</c:v>
                </c:pt>
                <c:pt idx="439">
                  <c:v>682</c:v>
                </c:pt>
                <c:pt idx="440">
                  <c:v>711</c:v>
                </c:pt>
                <c:pt idx="441">
                  <c:v>713</c:v>
                </c:pt>
                <c:pt idx="442">
                  <c:v>717</c:v>
                </c:pt>
                <c:pt idx="443">
                  <c:v>747</c:v>
                </c:pt>
                <c:pt idx="444">
                  <c:v>802</c:v>
                </c:pt>
                <c:pt idx="445">
                  <c:v>805</c:v>
                </c:pt>
                <c:pt idx="446">
                  <c:v>802</c:v>
                </c:pt>
                <c:pt idx="447">
                  <c:v>844</c:v>
                </c:pt>
                <c:pt idx="448">
                  <c:v>830</c:v>
                </c:pt>
                <c:pt idx="449">
                  <c:v>838</c:v>
                </c:pt>
                <c:pt idx="450">
                  <c:v>838</c:v>
                </c:pt>
                <c:pt idx="451">
                  <c:v>871</c:v>
                </c:pt>
                <c:pt idx="452">
                  <c:v>856</c:v>
                </c:pt>
                <c:pt idx="453">
                  <c:v>857</c:v>
                </c:pt>
                <c:pt idx="454">
                  <c:v>889</c:v>
                </c:pt>
                <c:pt idx="455">
                  <c:v>869</c:v>
                </c:pt>
                <c:pt idx="456">
                  <c:v>843</c:v>
                </c:pt>
                <c:pt idx="457">
                  <c:v>845</c:v>
                </c:pt>
                <c:pt idx="458">
                  <c:v>740</c:v>
                </c:pt>
                <c:pt idx="459">
                  <c:v>760</c:v>
                </c:pt>
                <c:pt idx="460">
                  <c:v>740</c:v>
                </c:pt>
                <c:pt idx="461">
                  <c:v>760</c:v>
                </c:pt>
                <c:pt idx="462">
                  <c:v>735</c:v>
                </c:pt>
                <c:pt idx="463">
                  <c:v>726</c:v>
                </c:pt>
                <c:pt idx="464">
                  <c:v>715</c:v>
                </c:pt>
                <c:pt idx="465">
                  <c:v>673</c:v>
                </c:pt>
                <c:pt idx="466">
                  <c:v>658</c:v>
                </c:pt>
                <c:pt idx="467">
                  <c:v>656</c:v>
                </c:pt>
                <c:pt idx="468">
                  <c:v>665</c:v>
                </c:pt>
                <c:pt idx="469">
                  <c:v>651</c:v>
                </c:pt>
                <c:pt idx="470">
                  <c:v>644</c:v>
                </c:pt>
                <c:pt idx="471">
                  <c:v>620</c:v>
                </c:pt>
                <c:pt idx="472">
                  <c:v>602</c:v>
                </c:pt>
                <c:pt idx="473">
                  <c:v>554</c:v>
                </c:pt>
                <c:pt idx="474">
                  <c:v>555</c:v>
                </c:pt>
                <c:pt idx="475">
                  <c:v>567</c:v>
                </c:pt>
                <c:pt idx="476">
                  <c:v>541</c:v>
                </c:pt>
                <c:pt idx="477">
                  <c:v>522</c:v>
                </c:pt>
                <c:pt idx="478">
                  <c:v>491</c:v>
                </c:pt>
                <c:pt idx="479">
                  <c:v>469</c:v>
                </c:pt>
                <c:pt idx="480">
                  <c:v>458</c:v>
                </c:pt>
                <c:pt idx="481">
                  <c:v>453</c:v>
                </c:pt>
                <c:pt idx="482">
                  <c:v>462</c:v>
                </c:pt>
                <c:pt idx="483">
                  <c:v>437</c:v>
                </c:pt>
                <c:pt idx="484">
                  <c:v>431</c:v>
                </c:pt>
                <c:pt idx="485">
                  <c:v>416</c:v>
                </c:pt>
                <c:pt idx="486">
                  <c:v>409</c:v>
                </c:pt>
                <c:pt idx="487">
                  <c:v>401</c:v>
                </c:pt>
                <c:pt idx="488">
                  <c:v>396</c:v>
                </c:pt>
                <c:pt idx="489">
                  <c:v>398</c:v>
                </c:pt>
                <c:pt idx="490">
                  <c:v>386</c:v>
                </c:pt>
                <c:pt idx="491">
                  <c:v>384</c:v>
                </c:pt>
                <c:pt idx="492">
                  <c:v>383</c:v>
                </c:pt>
                <c:pt idx="493">
                  <c:v>380</c:v>
                </c:pt>
                <c:pt idx="494">
                  <c:v>378</c:v>
                </c:pt>
                <c:pt idx="495">
                  <c:v>377</c:v>
                </c:pt>
                <c:pt idx="496">
                  <c:v>376</c:v>
                </c:pt>
                <c:pt idx="497">
                  <c:v>368</c:v>
                </c:pt>
                <c:pt idx="498">
                  <c:v>369</c:v>
                </c:pt>
                <c:pt idx="499">
                  <c:v>366</c:v>
                </c:pt>
                <c:pt idx="500">
                  <c:v>368</c:v>
                </c:pt>
                <c:pt idx="501">
                  <c:v>365</c:v>
                </c:pt>
                <c:pt idx="502">
                  <c:v>368</c:v>
                </c:pt>
                <c:pt idx="503">
                  <c:v>388</c:v>
                </c:pt>
                <c:pt idx="504">
                  <c:v>397</c:v>
                </c:pt>
                <c:pt idx="505">
                  <c:v>396</c:v>
                </c:pt>
                <c:pt idx="506">
                  <c:v>413</c:v>
                </c:pt>
                <c:pt idx="507">
                  <c:v>417</c:v>
                </c:pt>
                <c:pt idx="508">
                  <c:v>437</c:v>
                </c:pt>
                <c:pt idx="509">
                  <c:v>441</c:v>
                </c:pt>
                <c:pt idx="510">
                  <c:v>478</c:v>
                </c:pt>
                <c:pt idx="511">
                  <c:v>510</c:v>
                </c:pt>
                <c:pt idx="512">
                  <c:v>546</c:v>
                </c:pt>
                <c:pt idx="513">
                  <c:v>567</c:v>
                </c:pt>
                <c:pt idx="514">
                  <c:v>604</c:v>
                </c:pt>
                <c:pt idx="515">
                  <c:v>600</c:v>
                </c:pt>
                <c:pt idx="516">
                  <c:v>596</c:v>
                </c:pt>
                <c:pt idx="517">
                  <c:v>620</c:v>
                </c:pt>
                <c:pt idx="518">
                  <c:v>639</c:v>
                </c:pt>
                <c:pt idx="519">
                  <c:v>662</c:v>
                </c:pt>
                <c:pt idx="520">
                  <c:v>674</c:v>
                </c:pt>
                <c:pt idx="521">
                  <c:v>694</c:v>
                </c:pt>
                <c:pt idx="522">
                  <c:v>659</c:v>
                </c:pt>
                <c:pt idx="523">
                  <c:v>635</c:v>
                </c:pt>
                <c:pt idx="524">
                  <c:v>669</c:v>
                </c:pt>
                <c:pt idx="525">
                  <c:v>668</c:v>
                </c:pt>
                <c:pt idx="526">
                  <c:v>686</c:v>
                </c:pt>
                <c:pt idx="527">
                  <c:v>719</c:v>
                </c:pt>
                <c:pt idx="528">
                  <c:v>736</c:v>
                </c:pt>
                <c:pt idx="529">
                  <c:v>685</c:v>
                </c:pt>
                <c:pt idx="530">
                  <c:v>663</c:v>
                </c:pt>
                <c:pt idx="531">
                  <c:v>685</c:v>
                </c:pt>
                <c:pt idx="532">
                  <c:v>674</c:v>
                </c:pt>
                <c:pt idx="533">
                  <c:v>712</c:v>
                </c:pt>
                <c:pt idx="534">
                  <c:v>771</c:v>
                </c:pt>
                <c:pt idx="535">
                  <c:v>722</c:v>
                </c:pt>
                <c:pt idx="536">
                  <c:v>658</c:v>
                </c:pt>
                <c:pt idx="537">
                  <c:v>645</c:v>
                </c:pt>
                <c:pt idx="538">
                  <c:v>614</c:v>
                </c:pt>
                <c:pt idx="539">
                  <c:v>587</c:v>
                </c:pt>
                <c:pt idx="540">
                  <c:v>617</c:v>
                </c:pt>
                <c:pt idx="541">
                  <c:v>627</c:v>
                </c:pt>
                <c:pt idx="542">
                  <c:v>585</c:v>
                </c:pt>
                <c:pt idx="543">
                  <c:v>542</c:v>
                </c:pt>
                <c:pt idx="544">
                  <c:v>448</c:v>
                </c:pt>
                <c:pt idx="545">
                  <c:v>421</c:v>
                </c:pt>
                <c:pt idx="546">
                  <c:v>409</c:v>
                </c:pt>
                <c:pt idx="547">
                  <c:v>426</c:v>
                </c:pt>
                <c:pt idx="548">
                  <c:v>429</c:v>
                </c:pt>
                <c:pt idx="549">
                  <c:v>404</c:v>
                </c:pt>
                <c:pt idx="550">
                  <c:v>344</c:v>
                </c:pt>
                <c:pt idx="551">
                  <c:v>318</c:v>
                </c:pt>
                <c:pt idx="552">
                  <c:v>299</c:v>
                </c:pt>
                <c:pt idx="553">
                  <c:v>323</c:v>
                </c:pt>
                <c:pt idx="554">
                  <c:v>326</c:v>
                </c:pt>
                <c:pt idx="555">
                  <c:v>341</c:v>
                </c:pt>
                <c:pt idx="556">
                  <c:v>291</c:v>
                </c:pt>
                <c:pt idx="557">
                  <c:v>252</c:v>
                </c:pt>
                <c:pt idx="558">
                  <c:v>232</c:v>
                </c:pt>
                <c:pt idx="559">
                  <c:v>227</c:v>
                </c:pt>
                <c:pt idx="560">
                  <c:v>232</c:v>
                </c:pt>
                <c:pt idx="561">
                  <c:v>238</c:v>
                </c:pt>
                <c:pt idx="562">
                  <c:v>241</c:v>
                </c:pt>
                <c:pt idx="563">
                  <c:v>2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C7-418F-9894-CC9725FB542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565</c:f>
              <c:numCache>
                <c:formatCode>m/d/yyyy</c:formatCode>
                <c:ptCount val="56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</c:numCache>
            </c:numRef>
          </c:cat>
          <c:val>
            <c:numRef>
              <c:f>List1!$C$2:$C$565</c:f>
              <c:numCache>
                <c:formatCode>General</c:formatCode>
                <c:ptCount val="564"/>
                <c:pt idx="0">
                  <c:v>3</c:v>
                </c:pt>
                <c:pt idx="1">
                  <c:v>1</c:v>
                </c:pt>
                <c:pt idx="2">
                  <c:v>1</c:v>
                </c:pt>
                <c:pt idx="3">
                  <c:v>5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3</c:v>
                </c:pt>
                <c:pt idx="13">
                  <c:v>7</c:v>
                </c:pt>
                <c:pt idx="14">
                  <c:v>7</c:v>
                </c:pt>
                <c:pt idx="15">
                  <c:v>8</c:v>
                </c:pt>
                <c:pt idx="16">
                  <c:v>9</c:v>
                </c:pt>
                <c:pt idx="17">
                  <c:v>9</c:v>
                </c:pt>
                <c:pt idx="18">
                  <c:v>10</c:v>
                </c:pt>
                <c:pt idx="19">
                  <c:v>12</c:v>
                </c:pt>
                <c:pt idx="20">
                  <c:v>14</c:v>
                </c:pt>
                <c:pt idx="21">
                  <c:v>17</c:v>
                </c:pt>
                <c:pt idx="22">
                  <c:v>14</c:v>
                </c:pt>
                <c:pt idx="23">
                  <c:v>18</c:v>
                </c:pt>
                <c:pt idx="24">
                  <c:v>29</c:v>
                </c:pt>
                <c:pt idx="25">
                  <c:v>33</c:v>
                </c:pt>
                <c:pt idx="26">
                  <c:v>34</c:v>
                </c:pt>
                <c:pt idx="27">
                  <c:v>39</c:v>
                </c:pt>
                <c:pt idx="28">
                  <c:v>59</c:v>
                </c:pt>
                <c:pt idx="29">
                  <c:v>61</c:v>
                </c:pt>
                <c:pt idx="30">
                  <c:v>89</c:v>
                </c:pt>
                <c:pt idx="31">
                  <c:v>181</c:v>
                </c:pt>
                <c:pt idx="32">
                  <c:v>205</c:v>
                </c:pt>
                <c:pt idx="33">
                  <c:v>219</c:v>
                </c:pt>
                <c:pt idx="34">
                  <c:v>315</c:v>
                </c:pt>
                <c:pt idx="35">
                  <c:v>354</c:v>
                </c:pt>
                <c:pt idx="36">
                  <c:v>379</c:v>
                </c:pt>
                <c:pt idx="37">
                  <c:v>462</c:v>
                </c:pt>
                <c:pt idx="38">
                  <c:v>548</c:v>
                </c:pt>
                <c:pt idx="39">
                  <c:v>585</c:v>
                </c:pt>
                <c:pt idx="40">
                  <c:v>598</c:v>
                </c:pt>
                <c:pt idx="41">
                  <c:v>741</c:v>
                </c:pt>
                <c:pt idx="42">
                  <c:v>868</c:v>
                </c:pt>
                <c:pt idx="43">
                  <c:v>1041</c:v>
                </c:pt>
                <c:pt idx="44">
                  <c:v>1223</c:v>
                </c:pt>
                <c:pt idx="45">
                  <c:v>1394</c:v>
                </c:pt>
                <c:pt idx="46">
                  <c:v>1464</c:v>
                </c:pt>
                <c:pt idx="47">
                  <c:v>1459</c:v>
                </c:pt>
                <c:pt idx="48">
                  <c:v>1608</c:v>
                </c:pt>
                <c:pt idx="49">
                  <c:v>1756</c:v>
                </c:pt>
                <c:pt idx="50">
                  <c:v>1989</c:v>
                </c:pt>
                <c:pt idx="51">
                  <c:v>2152</c:v>
                </c:pt>
                <c:pt idx="52">
                  <c:v>2427</c:v>
                </c:pt>
                <c:pt idx="53">
                  <c:v>2497</c:v>
                </c:pt>
                <c:pt idx="54">
                  <c:v>2465</c:v>
                </c:pt>
                <c:pt idx="55">
                  <c:v>2638</c:v>
                </c:pt>
                <c:pt idx="56">
                  <c:v>2831</c:v>
                </c:pt>
                <c:pt idx="57">
                  <c:v>2846</c:v>
                </c:pt>
                <c:pt idx="58">
                  <c:v>3257</c:v>
                </c:pt>
                <c:pt idx="59">
                  <c:v>3403</c:v>
                </c:pt>
                <c:pt idx="60">
                  <c:v>3316</c:v>
                </c:pt>
                <c:pt idx="61">
                  <c:v>3159</c:v>
                </c:pt>
                <c:pt idx="62">
                  <c:v>3191</c:v>
                </c:pt>
                <c:pt idx="63">
                  <c:v>3126</c:v>
                </c:pt>
                <c:pt idx="64">
                  <c:v>3325</c:v>
                </c:pt>
                <c:pt idx="65">
                  <c:v>3506</c:v>
                </c:pt>
                <c:pt idx="66">
                  <c:v>3325</c:v>
                </c:pt>
                <c:pt idx="67">
                  <c:v>3075</c:v>
                </c:pt>
                <c:pt idx="68">
                  <c:v>2975</c:v>
                </c:pt>
                <c:pt idx="69">
                  <c:v>2830</c:v>
                </c:pt>
                <c:pt idx="70">
                  <c:v>2692</c:v>
                </c:pt>
                <c:pt idx="71">
                  <c:v>2824</c:v>
                </c:pt>
                <c:pt idx="72">
                  <c:v>2959</c:v>
                </c:pt>
                <c:pt idx="73">
                  <c:v>2864</c:v>
                </c:pt>
                <c:pt idx="74">
                  <c:v>2663</c:v>
                </c:pt>
                <c:pt idx="75">
                  <c:v>2422</c:v>
                </c:pt>
                <c:pt idx="76">
                  <c:v>2400</c:v>
                </c:pt>
                <c:pt idx="77">
                  <c:v>2247</c:v>
                </c:pt>
                <c:pt idx="78">
                  <c:v>2351</c:v>
                </c:pt>
                <c:pt idx="79">
                  <c:v>2433</c:v>
                </c:pt>
                <c:pt idx="80">
                  <c:v>2385</c:v>
                </c:pt>
                <c:pt idx="81">
                  <c:v>2131</c:v>
                </c:pt>
                <c:pt idx="82">
                  <c:v>1947</c:v>
                </c:pt>
                <c:pt idx="83">
                  <c:v>1936</c:v>
                </c:pt>
                <c:pt idx="84">
                  <c:v>1879</c:v>
                </c:pt>
                <c:pt idx="85">
                  <c:v>1905</c:v>
                </c:pt>
                <c:pt idx="86">
                  <c:v>1932</c:v>
                </c:pt>
                <c:pt idx="87">
                  <c:v>1889</c:v>
                </c:pt>
                <c:pt idx="88">
                  <c:v>1850</c:v>
                </c:pt>
                <c:pt idx="89">
                  <c:v>1705</c:v>
                </c:pt>
                <c:pt idx="90">
                  <c:v>1689</c:v>
                </c:pt>
                <c:pt idx="91">
                  <c:v>1684</c:v>
                </c:pt>
                <c:pt idx="92">
                  <c:v>1739</c:v>
                </c:pt>
                <c:pt idx="93">
                  <c:v>1781</c:v>
                </c:pt>
                <c:pt idx="94">
                  <c:v>1718</c:v>
                </c:pt>
                <c:pt idx="95">
                  <c:v>1656</c:v>
                </c:pt>
                <c:pt idx="96">
                  <c:v>1585</c:v>
                </c:pt>
                <c:pt idx="97">
                  <c:v>1645</c:v>
                </c:pt>
                <c:pt idx="98">
                  <c:v>1637</c:v>
                </c:pt>
                <c:pt idx="99">
                  <c:v>1678</c:v>
                </c:pt>
                <c:pt idx="100">
                  <c:v>1728</c:v>
                </c:pt>
                <c:pt idx="101">
                  <c:v>1709</c:v>
                </c:pt>
                <c:pt idx="102">
                  <c:v>1636</c:v>
                </c:pt>
                <c:pt idx="103">
                  <c:v>1597</c:v>
                </c:pt>
                <c:pt idx="104">
                  <c:v>1644</c:v>
                </c:pt>
                <c:pt idx="105">
                  <c:v>1648</c:v>
                </c:pt>
                <c:pt idx="106">
                  <c:v>1719</c:v>
                </c:pt>
                <c:pt idx="107">
                  <c:v>1757</c:v>
                </c:pt>
                <c:pt idx="108">
                  <c:v>1713</c:v>
                </c:pt>
                <c:pt idx="109">
                  <c:v>1662</c:v>
                </c:pt>
                <c:pt idx="110">
                  <c:v>1614</c:v>
                </c:pt>
                <c:pt idx="111">
                  <c:v>1723</c:v>
                </c:pt>
                <c:pt idx="112">
                  <c:v>1774</c:v>
                </c:pt>
                <c:pt idx="113">
                  <c:v>1873</c:v>
                </c:pt>
                <c:pt idx="114">
                  <c:v>1892</c:v>
                </c:pt>
                <c:pt idx="115">
                  <c:v>1844</c:v>
                </c:pt>
                <c:pt idx="116">
                  <c:v>1803</c:v>
                </c:pt>
                <c:pt idx="117">
                  <c:v>1773</c:v>
                </c:pt>
                <c:pt idx="118">
                  <c:v>1887</c:v>
                </c:pt>
                <c:pt idx="119">
                  <c:v>1974</c:v>
                </c:pt>
                <c:pt idx="120">
                  <c:v>2051</c:v>
                </c:pt>
                <c:pt idx="121">
                  <c:v>2126</c:v>
                </c:pt>
                <c:pt idx="122">
                  <c:v>2033</c:v>
                </c:pt>
                <c:pt idx="123">
                  <c:v>1966</c:v>
                </c:pt>
                <c:pt idx="124">
                  <c:v>1899</c:v>
                </c:pt>
                <c:pt idx="125">
                  <c:v>2188</c:v>
                </c:pt>
                <c:pt idx="126">
                  <c:v>2315</c:v>
                </c:pt>
                <c:pt idx="127">
                  <c:v>2401</c:v>
                </c:pt>
                <c:pt idx="128">
                  <c:v>2470</c:v>
                </c:pt>
                <c:pt idx="129">
                  <c:v>2384</c:v>
                </c:pt>
                <c:pt idx="130">
                  <c:v>2283</c:v>
                </c:pt>
                <c:pt idx="131">
                  <c:v>2162</c:v>
                </c:pt>
                <c:pt idx="132">
                  <c:v>2327</c:v>
                </c:pt>
                <c:pt idx="133">
                  <c:v>2415</c:v>
                </c:pt>
                <c:pt idx="134">
                  <c:v>2492</c:v>
                </c:pt>
                <c:pt idx="135">
                  <c:v>2498</c:v>
                </c:pt>
                <c:pt idx="136">
                  <c:v>2359</c:v>
                </c:pt>
                <c:pt idx="137">
                  <c:v>2218</c:v>
                </c:pt>
                <c:pt idx="138">
                  <c:v>2110</c:v>
                </c:pt>
                <c:pt idx="139">
                  <c:v>2114</c:v>
                </c:pt>
                <c:pt idx="140">
                  <c:v>2065</c:v>
                </c:pt>
                <c:pt idx="141">
                  <c:v>2100</c:v>
                </c:pt>
                <c:pt idx="142">
                  <c:v>2138</c:v>
                </c:pt>
                <c:pt idx="143">
                  <c:v>2046</c:v>
                </c:pt>
                <c:pt idx="144">
                  <c:v>1970</c:v>
                </c:pt>
                <c:pt idx="145">
                  <c:v>1862</c:v>
                </c:pt>
                <c:pt idx="146">
                  <c:v>1876</c:v>
                </c:pt>
                <c:pt idx="147">
                  <c:v>1883</c:v>
                </c:pt>
                <c:pt idx="148">
                  <c:v>1910</c:v>
                </c:pt>
                <c:pt idx="149">
                  <c:v>1925</c:v>
                </c:pt>
                <c:pt idx="150">
                  <c:v>1847</c:v>
                </c:pt>
                <c:pt idx="151">
                  <c:v>1779</c:v>
                </c:pt>
                <c:pt idx="152">
                  <c:v>1706</c:v>
                </c:pt>
                <c:pt idx="153">
                  <c:v>1729</c:v>
                </c:pt>
                <c:pt idx="154">
                  <c:v>1728</c:v>
                </c:pt>
                <c:pt idx="155">
                  <c:v>1767</c:v>
                </c:pt>
                <c:pt idx="156">
                  <c:v>1793</c:v>
                </c:pt>
                <c:pt idx="157">
                  <c:v>1740</c:v>
                </c:pt>
                <c:pt idx="158">
                  <c:v>1671</c:v>
                </c:pt>
                <c:pt idx="159">
                  <c:v>1627</c:v>
                </c:pt>
                <c:pt idx="160">
                  <c:v>1654</c:v>
                </c:pt>
                <c:pt idx="161">
                  <c:v>1622</c:v>
                </c:pt>
                <c:pt idx="162">
                  <c:v>1638</c:v>
                </c:pt>
                <c:pt idx="163">
                  <c:v>1667</c:v>
                </c:pt>
                <c:pt idx="164">
                  <c:v>1629</c:v>
                </c:pt>
                <c:pt idx="165">
                  <c:v>1570</c:v>
                </c:pt>
                <c:pt idx="166">
                  <c:v>1528</c:v>
                </c:pt>
                <c:pt idx="167">
                  <c:v>1550</c:v>
                </c:pt>
                <c:pt idx="168">
                  <c:v>1541</c:v>
                </c:pt>
                <c:pt idx="169">
                  <c:v>1561</c:v>
                </c:pt>
                <c:pt idx="170">
                  <c:v>1582</c:v>
                </c:pt>
                <c:pt idx="171">
                  <c:v>1562</c:v>
                </c:pt>
                <c:pt idx="172">
                  <c:v>1523</c:v>
                </c:pt>
                <c:pt idx="173">
                  <c:v>1499</c:v>
                </c:pt>
                <c:pt idx="174">
                  <c:v>1537</c:v>
                </c:pt>
                <c:pt idx="175">
                  <c:v>1553</c:v>
                </c:pt>
                <c:pt idx="176">
                  <c:v>1572</c:v>
                </c:pt>
                <c:pt idx="177">
                  <c:v>1601</c:v>
                </c:pt>
                <c:pt idx="178">
                  <c:v>1587</c:v>
                </c:pt>
                <c:pt idx="179">
                  <c:v>1538</c:v>
                </c:pt>
                <c:pt idx="180">
                  <c:v>1502</c:v>
                </c:pt>
                <c:pt idx="181">
                  <c:v>1534</c:v>
                </c:pt>
                <c:pt idx="182">
                  <c:v>1528</c:v>
                </c:pt>
                <c:pt idx="183">
                  <c:v>1571</c:v>
                </c:pt>
                <c:pt idx="184">
                  <c:v>1606</c:v>
                </c:pt>
                <c:pt idx="185">
                  <c:v>1559</c:v>
                </c:pt>
                <c:pt idx="186">
                  <c:v>1508</c:v>
                </c:pt>
                <c:pt idx="187">
                  <c:v>1480</c:v>
                </c:pt>
                <c:pt idx="188">
                  <c:v>1503</c:v>
                </c:pt>
                <c:pt idx="189">
                  <c:v>1493</c:v>
                </c:pt>
                <c:pt idx="190">
                  <c:v>1514</c:v>
                </c:pt>
                <c:pt idx="191">
                  <c:v>1532</c:v>
                </c:pt>
                <c:pt idx="192">
                  <c:v>1550</c:v>
                </c:pt>
                <c:pt idx="193">
                  <c:v>1561</c:v>
                </c:pt>
                <c:pt idx="194">
                  <c:v>1567</c:v>
                </c:pt>
                <c:pt idx="195">
                  <c:v>1607</c:v>
                </c:pt>
                <c:pt idx="196">
                  <c:v>1571</c:v>
                </c:pt>
                <c:pt idx="197">
                  <c:v>1549</c:v>
                </c:pt>
                <c:pt idx="198">
                  <c:v>1508</c:v>
                </c:pt>
                <c:pt idx="199">
                  <c:v>1492</c:v>
                </c:pt>
                <c:pt idx="200">
                  <c:v>1456</c:v>
                </c:pt>
                <c:pt idx="201">
                  <c:v>1451</c:v>
                </c:pt>
                <c:pt idx="202">
                  <c:v>1483</c:v>
                </c:pt>
                <c:pt idx="203">
                  <c:v>1436</c:v>
                </c:pt>
                <c:pt idx="204">
                  <c:v>1411</c:v>
                </c:pt>
                <c:pt idx="205">
                  <c:v>1385</c:v>
                </c:pt>
                <c:pt idx="206">
                  <c:v>1374</c:v>
                </c:pt>
                <c:pt idx="207">
                  <c:v>1349</c:v>
                </c:pt>
                <c:pt idx="208">
                  <c:v>1342</c:v>
                </c:pt>
                <c:pt idx="209">
                  <c:v>1355</c:v>
                </c:pt>
                <c:pt idx="210">
                  <c:v>1345</c:v>
                </c:pt>
                <c:pt idx="211">
                  <c:v>1313</c:v>
                </c:pt>
                <c:pt idx="212">
                  <c:v>1304</c:v>
                </c:pt>
                <c:pt idx="213">
                  <c:v>1281</c:v>
                </c:pt>
                <c:pt idx="214">
                  <c:v>1265</c:v>
                </c:pt>
                <c:pt idx="215">
                  <c:v>1263</c:v>
                </c:pt>
                <c:pt idx="216">
                  <c:v>1269</c:v>
                </c:pt>
                <c:pt idx="217">
                  <c:v>1252</c:v>
                </c:pt>
                <c:pt idx="218">
                  <c:v>1245</c:v>
                </c:pt>
                <c:pt idx="219">
                  <c:v>1244</c:v>
                </c:pt>
                <c:pt idx="220">
                  <c:v>1238</c:v>
                </c:pt>
                <c:pt idx="221">
                  <c:v>1226</c:v>
                </c:pt>
                <c:pt idx="222">
                  <c:v>1222</c:v>
                </c:pt>
                <c:pt idx="223">
                  <c:v>1228</c:v>
                </c:pt>
                <c:pt idx="224">
                  <c:v>1205</c:v>
                </c:pt>
                <c:pt idx="225">
                  <c:v>1198</c:v>
                </c:pt>
                <c:pt idx="226">
                  <c:v>1192</c:v>
                </c:pt>
                <c:pt idx="227">
                  <c:v>1188</c:v>
                </c:pt>
                <c:pt idx="228">
                  <c:v>1187</c:v>
                </c:pt>
                <c:pt idx="229">
                  <c:v>1184</c:v>
                </c:pt>
                <c:pt idx="230">
                  <c:v>1195</c:v>
                </c:pt>
                <c:pt idx="231">
                  <c:v>1192</c:v>
                </c:pt>
                <c:pt idx="232">
                  <c:v>1170</c:v>
                </c:pt>
                <c:pt idx="233">
                  <c:v>1151</c:v>
                </c:pt>
                <c:pt idx="234">
                  <c:v>1143</c:v>
                </c:pt>
                <c:pt idx="235">
                  <c:v>1136</c:v>
                </c:pt>
                <c:pt idx="236">
                  <c:v>1132</c:v>
                </c:pt>
                <c:pt idx="237">
                  <c:v>1138</c:v>
                </c:pt>
                <c:pt idx="238">
                  <c:v>1136</c:v>
                </c:pt>
                <c:pt idx="239">
                  <c:v>1131</c:v>
                </c:pt>
                <c:pt idx="240">
                  <c:v>1128</c:v>
                </c:pt>
                <c:pt idx="241">
                  <c:v>1125</c:v>
                </c:pt>
                <c:pt idx="242">
                  <c:v>1122</c:v>
                </c:pt>
                <c:pt idx="243">
                  <c:v>1121</c:v>
                </c:pt>
                <c:pt idx="244">
                  <c:v>1124</c:v>
                </c:pt>
                <c:pt idx="245">
                  <c:v>1112</c:v>
                </c:pt>
                <c:pt idx="246">
                  <c:v>1108</c:v>
                </c:pt>
                <c:pt idx="247">
                  <c:v>1109</c:v>
                </c:pt>
                <c:pt idx="248">
                  <c:v>1108</c:v>
                </c:pt>
                <c:pt idx="249">
                  <c:v>1104</c:v>
                </c:pt>
                <c:pt idx="250">
                  <c:v>1101</c:v>
                </c:pt>
                <c:pt idx="251">
                  <c:v>1104</c:v>
                </c:pt>
                <c:pt idx="252">
                  <c:v>1100</c:v>
                </c:pt>
                <c:pt idx="253">
                  <c:v>1096</c:v>
                </c:pt>
                <c:pt idx="254">
                  <c:v>1096</c:v>
                </c:pt>
                <c:pt idx="255">
                  <c:v>1096</c:v>
                </c:pt>
                <c:pt idx="256">
                  <c:v>1093</c:v>
                </c:pt>
                <c:pt idx="257">
                  <c:v>1093</c:v>
                </c:pt>
                <c:pt idx="258">
                  <c:v>1096</c:v>
                </c:pt>
                <c:pt idx="259">
                  <c:v>1098</c:v>
                </c:pt>
                <c:pt idx="260">
                  <c:v>1095</c:v>
                </c:pt>
                <c:pt idx="261">
                  <c:v>1097</c:v>
                </c:pt>
                <c:pt idx="262">
                  <c:v>1097</c:v>
                </c:pt>
                <c:pt idx="263">
                  <c:v>1094</c:v>
                </c:pt>
                <c:pt idx="264">
                  <c:v>1094</c:v>
                </c:pt>
                <c:pt idx="265">
                  <c:v>1096</c:v>
                </c:pt>
                <c:pt idx="266">
                  <c:v>1094</c:v>
                </c:pt>
                <c:pt idx="267">
                  <c:v>1091</c:v>
                </c:pt>
                <c:pt idx="268">
                  <c:v>1091</c:v>
                </c:pt>
                <c:pt idx="269">
                  <c:v>1089</c:v>
                </c:pt>
                <c:pt idx="270">
                  <c:v>1087</c:v>
                </c:pt>
                <c:pt idx="271">
                  <c:v>1087</c:v>
                </c:pt>
                <c:pt idx="272">
                  <c:v>1087</c:v>
                </c:pt>
                <c:pt idx="273">
                  <c:v>1084</c:v>
                </c:pt>
                <c:pt idx="274">
                  <c:v>1081</c:v>
                </c:pt>
                <c:pt idx="275">
                  <c:v>1081</c:v>
                </c:pt>
                <c:pt idx="276">
                  <c:v>1080</c:v>
                </c:pt>
                <c:pt idx="277">
                  <c:v>1080</c:v>
                </c:pt>
                <c:pt idx="278">
                  <c:v>1080</c:v>
                </c:pt>
                <c:pt idx="279">
                  <c:v>1079</c:v>
                </c:pt>
                <c:pt idx="280">
                  <c:v>1077</c:v>
                </c:pt>
                <c:pt idx="281">
                  <c:v>1075</c:v>
                </c:pt>
                <c:pt idx="282">
                  <c:v>1075</c:v>
                </c:pt>
                <c:pt idx="283">
                  <c:v>1075</c:v>
                </c:pt>
                <c:pt idx="284">
                  <c:v>1075</c:v>
                </c:pt>
                <c:pt idx="285">
                  <c:v>1075</c:v>
                </c:pt>
                <c:pt idx="286">
                  <c:v>1075</c:v>
                </c:pt>
                <c:pt idx="287">
                  <c:v>1075</c:v>
                </c:pt>
                <c:pt idx="288">
                  <c:v>1075</c:v>
                </c:pt>
                <c:pt idx="289">
                  <c:v>1074</c:v>
                </c:pt>
                <c:pt idx="290">
                  <c:v>1074</c:v>
                </c:pt>
                <c:pt idx="291">
                  <c:v>1074</c:v>
                </c:pt>
                <c:pt idx="292">
                  <c:v>1074</c:v>
                </c:pt>
                <c:pt idx="293">
                  <c:v>1074</c:v>
                </c:pt>
                <c:pt idx="294">
                  <c:v>1074</c:v>
                </c:pt>
                <c:pt idx="295">
                  <c:v>1074</c:v>
                </c:pt>
                <c:pt idx="296">
                  <c:v>1075</c:v>
                </c:pt>
                <c:pt idx="297">
                  <c:v>1075</c:v>
                </c:pt>
                <c:pt idx="298">
                  <c:v>1074</c:v>
                </c:pt>
                <c:pt idx="299">
                  <c:v>1074</c:v>
                </c:pt>
                <c:pt idx="300">
                  <c:v>1075</c:v>
                </c:pt>
                <c:pt idx="301">
                  <c:v>1075</c:v>
                </c:pt>
                <c:pt idx="302">
                  <c:v>1076</c:v>
                </c:pt>
                <c:pt idx="303">
                  <c:v>1076</c:v>
                </c:pt>
                <c:pt idx="304">
                  <c:v>1076</c:v>
                </c:pt>
                <c:pt idx="305">
                  <c:v>1076</c:v>
                </c:pt>
                <c:pt idx="306">
                  <c:v>1076</c:v>
                </c:pt>
                <c:pt idx="307">
                  <c:v>1076</c:v>
                </c:pt>
                <c:pt idx="308">
                  <c:v>1076</c:v>
                </c:pt>
                <c:pt idx="309">
                  <c:v>1077</c:v>
                </c:pt>
                <c:pt idx="310">
                  <c:v>1078</c:v>
                </c:pt>
                <c:pt idx="311">
                  <c:v>1078</c:v>
                </c:pt>
                <c:pt idx="312">
                  <c:v>1078</c:v>
                </c:pt>
                <c:pt idx="313">
                  <c:v>1079</c:v>
                </c:pt>
                <c:pt idx="314">
                  <c:v>1079</c:v>
                </c:pt>
                <c:pt idx="315">
                  <c:v>1079</c:v>
                </c:pt>
                <c:pt idx="316">
                  <c:v>1079</c:v>
                </c:pt>
                <c:pt idx="317">
                  <c:v>1079</c:v>
                </c:pt>
                <c:pt idx="318">
                  <c:v>1078</c:v>
                </c:pt>
                <c:pt idx="319">
                  <c:v>1078</c:v>
                </c:pt>
                <c:pt idx="320">
                  <c:v>1078</c:v>
                </c:pt>
                <c:pt idx="321">
                  <c:v>1078</c:v>
                </c:pt>
                <c:pt idx="322">
                  <c:v>1078</c:v>
                </c:pt>
                <c:pt idx="323">
                  <c:v>1079</c:v>
                </c:pt>
                <c:pt idx="324">
                  <c:v>1078</c:v>
                </c:pt>
                <c:pt idx="325">
                  <c:v>1078</c:v>
                </c:pt>
                <c:pt idx="326">
                  <c:v>1077</c:v>
                </c:pt>
                <c:pt idx="327">
                  <c:v>1077</c:v>
                </c:pt>
                <c:pt idx="328">
                  <c:v>1076</c:v>
                </c:pt>
                <c:pt idx="329">
                  <c:v>1077</c:v>
                </c:pt>
                <c:pt idx="330">
                  <c:v>1078</c:v>
                </c:pt>
                <c:pt idx="331">
                  <c:v>1078</c:v>
                </c:pt>
                <c:pt idx="332">
                  <c:v>1078</c:v>
                </c:pt>
                <c:pt idx="333">
                  <c:v>1078</c:v>
                </c:pt>
                <c:pt idx="334">
                  <c:v>1078</c:v>
                </c:pt>
                <c:pt idx="335">
                  <c:v>1078</c:v>
                </c:pt>
                <c:pt idx="336">
                  <c:v>1078</c:v>
                </c:pt>
                <c:pt idx="337">
                  <c:v>1078</c:v>
                </c:pt>
                <c:pt idx="338">
                  <c:v>1077</c:v>
                </c:pt>
                <c:pt idx="339">
                  <c:v>1077</c:v>
                </c:pt>
                <c:pt idx="340">
                  <c:v>1077</c:v>
                </c:pt>
                <c:pt idx="341">
                  <c:v>1078</c:v>
                </c:pt>
                <c:pt idx="342">
                  <c:v>1078</c:v>
                </c:pt>
                <c:pt idx="343">
                  <c:v>1077</c:v>
                </c:pt>
                <c:pt idx="344">
                  <c:v>1077</c:v>
                </c:pt>
                <c:pt idx="345">
                  <c:v>1077</c:v>
                </c:pt>
                <c:pt idx="346">
                  <c:v>1077</c:v>
                </c:pt>
                <c:pt idx="347">
                  <c:v>1077</c:v>
                </c:pt>
                <c:pt idx="348">
                  <c:v>1078</c:v>
                </c:pt>
                <c:pt idx="349">
                  <c:v>1078</c:v>
                </c:pt>
                <c:pt idx="350">
                  <c:v>1077</c:v>
                </c:pt>
                <c:pt idx="351">
                  <c:v>1077</c:v>
                </c:pt>
                <c:pt idx="352">
                  <c:v>1077</c:v>
                </c:pt>
                <c:pt idx="353">
                  <c:v>1077</c:v>
                </c:pt>
                <c:pt idx="354">
                  <c:v>1077</c:v>
                </c:pt>
                <c:pt idx="355">
                  <c:v>1077</c:v>
                </c:pt>
                <c:pt idx="356">
                  <c:v>1078</c:v>
                </c:pt>
                <c:pt idx="357">
                  <c:v>1078</c:v>
                </c:pt>
                <c:pt idx="358">
                  <c:v>1078</c:v>
                </c:pt>
                <c:pt idx="359">
                  <c:v>1078</c:v>
                </c:pt>
                <c:pt idx="360">
                  <c:v>1079</c:v>
                </c:pt>
                <c:pt idx="361">
                  <c:v>1079</c:v>
                </c:pt>
                <c:pt idx="362">
                  <c:v>1080</c:v>
                </c:pt>
                <c:pt idx="363">
                  <c:v>1079</c:v>
                </c:pt>
                <c:pt idx="364">
                  <c:v>1079</c:v>
                </c:pt>
                <c:pt idx="365">
                  <c:v>1084</c:v>
                </c:pt>
                <c:pt idx="366">
                  <c:v>1085</c:v>
                </c:pt>
                <c:pt idx="367">
                  <c:v>1086</c:v>
                </c:pt>
                <c:pt idx="368">
                  <c:v>1086</c:v>
                </c:pt>
                <c:pt idx="369">
                  <c:v>1086</c:v>
                </c:pt>
                <c:pt idx="370">
                  <c:v>1087</c:v>
                </c:pt>
                <c:pt idx="371">
                  <c:v>1088</c:v>
                </c:pt>
                <c:pt idx="372">
                  <c:v>1089</c:v>
                </c:pt>
                <c:pt idx="373">
                  <c:v>1090</c:v>
                </c:pt>
                <c:pt idx="374">
                  <c:v>1091</c:v>
                </c:pt>
                <c:pt idx="375">
                  <c:v>1090</c:v>
                </c:pt>
                <c:pt idx="376">
                  <c:v>1089</c:v>
                </c:pt>
                <c:pt idx="377">
                  <c:v>1089</c:v>
                </c:pt>
                <c:pt idx="378">
                  <c:v>1090</c:v>
                </c:pt>
                <c:pt idx="379">
                  <c:v>1089</c:v>
                </c:pt>
                <c:pt idx="380">
                  <c:v>1089</c:v>
                </c:pt>
                <c:pt idx="381">
                  <c:v>1088</c:v>
                </c:pt>
                <c:pt idx="382">
                  <c:v>1086</c:v>
                </c:pt>
                <c:pt idx="383">
                  <c:v>1086</c:v>
                </c:pt>
                <c:pt idx="384">
                  <c:v>1090</c:v>
                </c:pt>
                <c:pt idx="385">
                  <c:v>1093</c:v>
                </c:pt>
                <c:pt idx="386">
                  <c:v>1093</c:v>
                </c:pt>
                <c:pt idx="387">
                  <c:v>1093</c:v>
                </c:pt>
                <c:pt idx="388">
                  <c:v>1093</c:v>
                </c:pt>
                <c:pt idx="389">
                  <c:v>1094</c:v>
                </c:pt>
                <c:pt idx="390">
                  <c:v>1095</c:v>
                </c:pt>
                <c:pt idx="391">
                  <c:v>1098</c:v>
                </c:pt>
                <c:pt idx="392">
                  <c:v>1099</c:v>
                </c:pt>
                <c:pt idx="393">
                  <c:v>1103</c:v>
                </c:pt>
                <c:pt idx="394">
                  <c:v>1103</c:v>
                </c:pt>
                <c:pt idx="395">
                  <c:v>1104</c:v>
                </c:pt>
                <c:pt idx="396">
                  <c:v>1103</c:v>
                </c:pt>
                <c:pt idx="397">
                  <c:v>1102</c:v>
                </c:pt>
                <c:pt idx="398">
                  <c:v>1105</c:v>
                </c:pt>
                <c:pt idx="399">
                  <c:v>1107</c:v>
                </c:pt>
                <c:pt idx="400">
                  <c:v>1107</c:v>
                </c:pt>
                <c:pt idx="401">
                  <c:v>1108</c:v>
                </c:pt>
                <c:pt idx="402">
                  <c:v>1109</c:v>
                </c:pt>
                <c:pt idx="403">
                  <c:v>1110</c:v>
                </c:pt>
                <c:pt idx="404">
                  <c:v>1108</c:v>
                </c:pt>
                <c:pt idx="405">
                  <c:v>1110</c:v>
                </c:pt>
                <c:pt idx="406">
                  <c:v>1107</c:v>
                </c:pt>
                <c:pt idx="407">
                  <c:v>1108</c:v>
                </c:pt>
                <c:pt idx="408">
                  <c:v>1106</c:v>
                </c:pt>
                <c:pt idx="409">
                  <c:v>1113</c:v>
                </c:pt>
                <c:pt idx="410">
                  <c:v>1112</c:v>
                </c:pt>
                <c:pt idx="411">
                  <c:v>1113</c:v>
                </c:pt>
                <c:pt idx="412">
                  <c:v>1125</c:v>
                </c:pt>
                <c:pt idx="413">
                  <c:v>1129</c:v>
                </c:pt>
                <c:pt idx="414">
                  <c:v>1139</c:v>
                </c:pt>
                <c:pt idx="415">
                  <c:v>1141</c:v>
                </c:pt>
                <c:pt idx="416">
                  <c:v>1149</c:v>
                </c:pt>
                <c:pt idx="417">
                  <c:v>1144</c:v>
                </c:pt>
                <c:pt idx="418">
                  <c:v>1148</c:v>
                </c:pt>
                <c:pt idx="419">
                  <c:v>1167</c:v>
                </c:pt>
                <c:pt idx="420">
                  <c:v>1170</c:v>
                </c:pt>
                <c:pt idx="421">
                  <c:v>1185</c:v>
                </c:pt>
                <c:pt idx="422">
                  <c:v>1186</c:v>
                </c:pt>
                <c:pt idx="423">
                  <c:v>1191</c:v>
                </c:pt>
                <c:pt idx="424">
                  <c:v>1191</c:v>
                </c:pt>
                <c:pt idx="425">
                  <c:v>1192</c:v>
                </c:pt>
                <c:pt idx="426">
                  <c:v>1233</c:v>
                </c:pt>
                <c:pt idx="427">
                  <c:v>1244</c:v>
                </c:pt>
                <c:pt idx="428">
                  <c:v>1258</c:v>
                </c:pt>
                <c:pt idx="429">
                  <c:v>1272</c:v>
                </c:pt>
                <c:pt idx="430">
                  <c:v>1290</c:v>
                </c:pt>
                <c:pt idx="431">
                  <c:v>1297</c:v>
                </c:pt>
                <c:pt idx="432">
                  <c:v>1299</c:v>
                </c:pt>
                <c:pt idx="433">
                  <c:v>1349</c:v>
                </c:pt>
                <c:pt idx="434">
                  <c:v>1366</c:v>
                </c:pt>
                <c:pt idx="435">
                  <c:v>1377</c:v>
                </c:pt>
                <c:pt idx="436">
                  <c:v>1405</c:v>
                </c:pt>
                <c:pt idx="437">
                  <c:v>1435</c:v>
                </c:pt>
                <c:pt idx="438">
                  <c:v>1442</c:v>
                </c:pt>
                <c:pt idx="439">
                  <c:v>1448</c:v>
                </c:pt>
                <c:pt idx="440">
                  <c:v>1499</c:v>
                </c:pt>
                <c:pt idx="441">
                  <c:v>1495</c:v>
                </c:pt>
                <c:pt idx="442">
                  <c:v>1478</c:v>
                </c:pt>
                <c:pt idx="443">
                  <c:v>1496</c:v>
                </c:pt>
                <c:pt idx="444">
                  <c:v>1520</c:v>
                </c:pt>
                <c:pt idx="445">
                  <c:v>1508</c:v>
                </c:pt>
                <c:pt idx="446">
                  <c:v>1504</c:v>
                </c:pt>
                <c:pt idx="447">
                  <c:v>1569</c:v>
                </c:pt>
                <c:pt idx="448">
                  <c:v>1571</c:v>
                </c:pt>
                <c:pt idx="449">
                  <c:v>1582</c:v>
                </c:pt>
                <c:pt idx="450">
                  <c:v>1583</c:v>
                </c:pt>
                <c:pt idx="451">
                  <c:v>1592</c:v>
                </c:pt>
                <c:pt idx="452">
                  <c:v>1580</c:v>
                </c:pt>
                <c:pt idx="453">
                  <c:v>1568</c:v>
                </c:pt>
                <c:pt idx="454">
                  <c:v>1603</c:v>
                </c:pt>
                <c:pt idx="455">
                  <c:v>1585</c:v>
                </c:pt>
                <c:pt idx="456">
                  <c:v>1578</c:v>
                </c:pt>
                <c:pt idx="457">
                  <c:v>1594</c:v>
                </c:pt>
                <c:pt idx="458">
                  <c:v>1557</c:v>
                </c:pt>
                <c:pt idx="459">
                  <c:v>1521</c:v>
                </c:pt>
                <c:pt idx="460">
                  <c:v>1512</c:v>
                </c:pt>
                <c:pt idx="461">
                  <c:v>1547</c:v>
                </c:pt>
                <c:pt idx="462">
                  <c:v>1511</c:v>
                </c:pt>
                <c:pt idx="463">
                  <c:v>1489</c:v>
                </c:pt>
                <c:pt idx="464">
                  <c:v>1450</c:v>
                </c:pt>
                <c:pt idx="465">
                  <c:v>1432</c:v>
                </c:pt>
                <c:pt idx="466">
                  <c:v>1396</c:v>
                </c:pt>
                <c:pt idx="467">
                  <c:v>1391</c:v>
                </c:pt>
                <c:pt idx="468">
                  <c:v>1414</c:v>
                </c:pt>
                <c:pt idx="469">
                  <c:v>1384</c:v>
                </c:pt>
                <c:pt idx="470">
                  <c:v>1352</c:v>
                </c:pt>
                <c:pt idx="471">
                  <c:v>1329</c:v>
                </c:pt>
                <c:pt idx="472">
                  <c:v>1306</c:v>
                </c:pt>
                <c:pt idx="473">
                  <c:v>1261</c:v>
                </c:pt>
                <c:pt idx="474">
                  <c:v>1255</c:v>
                </c:pt>
                <c:pt idx="475">
                  <c:v>1270</c:v>
                </c:pt>
                <c:pt idx="476">
                  <c:v>1224</c:v>
                </c:pt>
                <c:pt idx="477">
                  <c:v>1191</c:v>
                </c:pt>
                <c:pt idx="478">
                  <c:v>1157</c:v>
                </c:pt>
                <c:pt idx="479">
                  <c:v>1143</c:v>
                </c:pt>
                <c:pt idx="480">
                  <c:v>1119</c:v>
                </c:pt>
                <c:pt idx="481">
                  <c:v>1110</c:v>
                </c:pt>
                <c:pt idx="482">
                  <c:v>1109</c:v>
                </c:pt>
                <c:pt idx="483">
                  <c:v>1091</c:v>
                </c:pt>
                <c:pt idx="484">
                  <c:v>1061</c:v>
                </c:pt>
                <c:pt idx="485">
                  <c:v>1050</c:v>
                </c:pt>
                <c:pt idx="486">
                  <c:v>1038</c:v>
                </c:pt>
                <c:pt idx="487">
                  <c:v>1018</c:v>
                </c:pt>
                <c:pt idx="488">
                  <c:v>1011</c:v>
                </c:pt>
                <c:pt idx="489">
                  <c:v>1021</c:v>
                </c:pt>
                <c:pt idx="490">
                  <c:v>1007</c:v>
                </c:pt>
                <c:pt idx="491">
                  <c:v>999</c:v>
                </c:pt>
                <c:pt idx="492">
                  <c:v>1000</c:v>
                </c:pt>
                <c:pt idx="493">
                  <c:v>1003</c:v>
                </c:pt>
                <c:pt idx="494">
                  <c:v>1000</c:v>
                </c:pt>
                <c:pt idx="495">
                  <c:v>998</c:v>
                </c:pt>
                <c:pt idx="496">
                  <c:v>1014</c:v>
                </c:pt>
                <c:pt idx="497">
                  <c:v>1002</c:v>
                </c:pt>
                <c:pt idx="498">
                  <c:v>994</c:v>
                </c:pt>
                <c:pt idx="499">
                  <c:v>989</c:v>
                </c:pt>
                <c:pt idx="500">
                  <c:v>988</c:v>
                </c:pt>
                <c:pt idx="501">
                  <c:v>991</c:v>
                </c:pt>
                <c:pt idx="502">
                  <c:v>1001</c:v>
                </c:pt>
                <c:pt idx="503">
                  <c:v>1043</c:v>
                </c:pt>
                <c:pt idx="504">
                  <c:v>1058</c:v>
                </c:pt>
                <c:pt idx="505">
                  <c:v>1090</c:v>
                </c:pt>
                <c:pt idx="506">
                  <c:v>1132</c:v>
                </c:pt>
                <c:pt idx="507">
                  <c:v>1190</c:v>
                </c:pt>
                <c:pt idx="508">
                  <c:v>1183</c:v>
                </c:pt>
                <c:pt idx="509">
                  <c:v>1184</c:v>
                </c:pt>
                <c:pt idx="510">
                  <c:v>1251</c:v>
                </c:pt>
                <c:pt idx="511">
                  <c:v>1317</c:v>
                </c:pt>
                <c:pt idx="512">
                  <c:v>1402</c:v>
                </c:pt>
                <c:pt idx="513">
                  <c:v>1453</c:v>
                </c:pt>
                <c:pt idx="514">
                  <c:v>1469</c:v>
                </c:pt>
                <c:pt idx="515">
                  <c:v>1455</c:v>
                </c:pt>
                <c:pt idx="516">
                  <c:v>1435</c:v>
                </c:pt>
                <c:pt idx="517">
                  <c:v>1493</c:v>
                </c:pt>
                <c:pt idx="518">
                  <c:v>1541</c:v>
                </c:pt>
                <c:pt idx="519">
                  <c:v>1605</c:v>
                </c:pt>
                <c:pt idx="520">
                  <c:v>1645</c:v>
                </c:pt>
                <c:pt idx="521">
                  <c:v>1618</c:v>
                </c:pt>
                <c:pt idx="522">
                  <c:v>1516</c:v>
                </c:pt>
                <c:pt idx="523">
                  <c:v>1426</c:v>
                </c:pt>
                <c:pt idx="524">
                  <c:v>1453</c:v>
                </c:pt>
                <c:pt idx="525">
                  <c:v>1444</c:v>
                </c:pt>
                <c:pt idx="526">
                  <c:v>1471</c:v>
                </c:pt>
                <c:pt idx="527">
                  <c:v>1491</c:v>
                </c:pt>
                <c:pt idx="528">
                  <c:v>1383</c:v>
                </c:pt>
                <c:pt idx="529">
                  <c:v>1268</c:v>
                </c:pt>
                <c:pt idx="530">
                  <c:v>1189</c:v>
                </c:pt>
                <c:pt idx="531">
                  <c:v>1187</c:v>
                </c:pt>
                <c:pt idx="532">
                  <c:v>1165</c:v>
                </c:pt>
                <c:pt idx="533">
                  <c:v>1195</c:v>
                </c:pt>
                <c:pt idx="534">
                  <c:v>1192</c:v>
                </c:pt>
                <c:pt idx="535">
                  <c:v>1038</c:v>
                </c:pt>
                <c:pt idx="536">
                  <c:v>945</c:v>
                </c:pt>
                <c:pt idx="537">
                  <c:v>855</c:v>
                </c:pt>
                <c:pt idx="538">
                  <c:v>843</c:v>
                </c:pt>
                <c:pt idx="539">
                  <c:v>799</c:v>
                </c:pt>
                <c:pt idx="540">
                  <c:v>803</c:v>
                </c:pt>
                <c:pt idx="541">
                  <c:v>808</c:v>
                </c:pt>
                <c:pt idx="542">
                  <c:v>693</c:v>
                </c:pt>
                <c:pt idx="543">
                  <c:v>610</c:v>
                </c:pt>
                <c:pt idx="544">
                  <c:v>547</c:v>
                </c:pt>
                <c:pt idx="545">
                  <c:v>535</c:v>
                </c:pt>
                <c:pt idx="546">
                  <c:v>506</c:v>
                </c:pt>
                <c:pt idx="547">
                  <c:v>508</c:v>
                </c:pt>
                <c:pt idx="548">
                  <c:v>511</c:v>
                </c:pt>
                <c:pt idx="549">
                  <c:v>435</c:v>
                </c:pt>
                <c:pt idx="550">
                  <c:v>394</c:v>
                </c:pt>
                <c:pt idx="551">
                  <c:v>349</c:v>
                </c:pt>
                <c:pt idx="552">
                  <c:v>352</c:v>
                </c:pt>
                <c:pt idx="553">
                  <c:v>341</c:v>
                </c:pt>
                <c:pt idx="554">
                  <c:v>360</c:v>
                </c:pt>
                <c:pt idx="555">
                  <c:v>347</c:v>
                </c:pt>
                <c:pt idx="556">
                  <c:v>325</c:v>
                </c:pt>
                <c:pt idx="557">
                  <c:v>304</c:v>
                </c:pt>
                <c:pt idx="558">
                  <c:v>275</c:v>
                </c:pt>
                <c:pt idx="559">
                  <c:v>277</c:v>
                </c:pt>
                <c:pt idx="560">
                  <c:v>290</c:v>
                </c:pt>
                <c:pt idx="561">
                  <c:v>295</c:v>
                </c:pt>
                <c:pt idx="562">
                  <c:v>293</c:v>
                </c:pt>
                <c:pt idx="563">
                  <c:v>2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C7-418F-9894-CC9725FB542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565</c:f>
              <c:numCache>
                <c:formatCode>m/d/yyyy</c:formatCode>
                <c:ptCount val="56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</c:numCache>
            </c:numRef>
          </c:cat>
          <c:val>
            <c:numRef>
              <c:f>List1!$D$2:$D$565</c:f>
              <c:numCache>
                <c:formatCode>General</c:formatCode>
                <c:ptCount val="564"/>
                <c:pt idx="0">
                  <c:v>9</c:v>
                </c:pt>
                <c:pt idx="1">
                  <c:v>7</c:v>
                </c:pt>
                <c:pt idx="2">
                  <c:v>7</c:v>
                </c:pt>
                <c:pt idx="3">
                  <c:v>11</c:v>
                </c:pt>
                <c:pt idx="4">
                  <c:v>8</c:v>
                </c:pt>
                <c:pt idx="5">
                  <c:v>8</c:v>
                </c:pt>
                <c:pt idx="6">
                  <c:v>8</c:v>
                </c:pt>
                <c:pt idx="7">
                  <c:v>9</c:v>
                </c:pt>
                <c:pt idx="8">
                  <c:v>11</c:v>
                </c:pt>
                <c:pt idx="9">
                  <c:v>11</c:v>
                </c:pt>
                <c:pt idx="10">
                  <c:v>10</c:v>
                </c:pt>
                <c:pt idx="11">
                  <c:v>14</c:v>
                </c:pt>
                <c:pt idx="12">
                  <c:v>4</c:v>
                </c:pt>
                <c:pt idx="13">
                  <c:v>16</c:v>
                </c:pt>
                <c:pt idx="14">
                  <c:v>7</c:v>
                </c:pt>
                <c:pt idx="15">
                  <c:v>8</c:v>
                </c:pt>
                <c:pt idx="16">
                  <c:v>9</c:v>
                </c:pt>
                <c:pt idx="17">
                  <c:v>11</c:v>
                </c:pt>
                <c:pt idx="18">
                  <c:v>11</c:v>
                </c:pt>
                <c:pt idx="19">
                  <c:v>16</c:v>
                </c:pt>
                <c:pt idx="20">
                  <c:v>15</c:v>
                </c:pt>
                <c:pt idx="21">
                  <c:v>18</c:v>
                </c:pt>
                <c:pt idx="22">
                  <c:v>15</c:v>
                </c:pt>
                <c:pt idx="23">
                  <c:v>22</c:v>
                </c:pt>
                <c:pt idx="24">
                  <c:v>31</c:v>
                </c:pt>
                <c:pt idx="25">
                  <c:v>40</c:v>
                </c:pt>
                <c:pt idx="26">
                  <c:v>43</c:v>
                </c:pt>
                <c:pt idx="27">
                  <c:v>46</c:v>
                </c:pt>
                <c:pt idx="28">
                  <c:v>70</c:v>
                </c:pt>
                <c:pt idx="29">
                  <c:v>99</c:v>
                </c:pt>
                <c:pt idx="30">
                  <c:v>156</c:v>
                </c:pt>
                <c:pt idx="31">
                  <c:v>304</c:v>
                </c:pt>
                <c:pt idx="32">
                  <c:v>362</c:v>
                </c:pt>
                <c:pt idx="33">
                  <c:v>430</c:v>
                </c:pt>
                <c:pt idx="34">
                  <c:v>681</c:v>
                </c:pt>
                <c:pt idx="35">
                  <c:v>792</c:v>
                </c:pt>
                <c:pt idx="36">
                  <c:v>854</c:v>
                </c:pt>
                <c:pt idx="37">
                  <c:v>1006</c:v>
                </c:pt>
                <c:pt idx="38">
                  <c:v>1224</c:v>
                </c:pt>
                <c:pt idx="39">
                  <c:v>1281</c:v>
                </c:pt>
                <c:pt idx="40">
                  <c:v>1263</c:v>
                </c:pt>
                <c:pt idx="41">
                  <c:v>1518</c:v>
                </c:pt>
                <c:pt idx="42">
                  <c:v>1818</c:v>
                </c:pt>
                <c:pt idx="43">
                  <c:v>2122</c:v>
                </c:pt>
                <c:pt idx="44">
                  <c:v>2479</c:v>
                </c:pt>
                <c:pt idx="45">
                  <c:v>2778</c:v>
                </c:pt>
                <c:pt idx="46">
                  <c:v>2925</c:v>
                </c:pt>
                <c:pt idx="47">
                  <c:v>2873</c:v>
                </c:pt>
                <c:pt idx="48">
                  <c:v>3196</c:v>
                </c:pt>
                <c:pt idx="49">
                  <c:v>3460</c:v>
                </c:pt>
                <c:pt idx="50">
                  <c:v>3972</c:v>
                </c:pt>
                <c:pt idx="51">
                  <c:v>4303</c:v>
                </c:pt>
                <c:pt idx="52">
                  <c:v>4871</c:v>
                </c:pt>
                <c:pt idx="53">
                  <c:v>5024</c:v>
                </c:pt>
                <c:pt idx="54">
                  <c:v>5037</c:v>
                </c:pt>
                <c:pt idx="55">
                  <c:v>5394</c:v>
                </c:pt>
                <c:pt idx="56">
                  <c:v>5931</c:v>
                </c:pt>
                <c:pt idx="57">
                  <c:v>5976</c:v>
                </c:pt>
                <c:pt idx="58">
                  <c:v>6835</c:v>
                </c:pt>
                <c:pt idx="59">
                  <c:v>7278</c:v>
                </c:pt>
                <c:pt idx="60">
                  <c:v>7280</c:v>
                </c:pt>
                <c:pt idx="61">
                  <c:v>7019</c:v>
                </c:pt>
                <c:pt idx="62">
                  <c:v>7116</c:v>
                </c:pt>
                <c:pt idx="63">
                  <c:v>6992</c:v>
                </c:pt>
                <c:pt idx="64">
                  <c:v>7405</c:v>
                </c:pt>
                <c:pt idx="65">
                  <c:v>7923</c:v>
                </c:pt>
                <c:pt idx="66">
                  <c:v>7610</c:v>
                </c:pt>
                <c:pt idx="67">
                  <c:v>7009</c:v>
                </c:pt>
                <c:pt idx="68">
                  <c:v>6831</c:v>
                </c:pt>
                <c:pt idx="69">
                  <c:v>6442</c:v>
                </c:pt>
                <c:pt idx="70">
                  <c:v>6181</c:v>
                </c:pt>
                <c:pt idx="71">
                  <c:v>6739</c:v>
                </c:pt>
                <c:pt idx="72">
                  <c:v>7260</c:v>
                </c:pt>
                <c:pt idx="73">
                  <c:v>7212</c:v>
                </c:pt>
                <c:pt idx="74">
                  <c:v>6674</c:v>
                </c:pt>
                <c:pt idx="75">
                  <c:v>6318</c:v>
                </c:pt>
                <c:pt idx="76">
                  <c:v>6315</c:v>
                </c:pt>
                <c:pt idx="77">
                  <c:v>5943</c:v>
                </c:pt>
                <c:pt idx="78">
                  <c:v>6241</c:v>
                </c:pt>
                <c:pt idx="79">
                  <c:v>6477</c:v>
                </c:pt>
                <c:pt idx="80">
                  <c:v>6489</c:v>
                </c:pt>
                <c:pt idx="81">
                  <c:v>5852</c:v>
                </c:pt>
                <c:pt idx="82">
                  <c:v>5395</c:v>
                </c:pt>
                <c:pt idx="83">
                  <c:v>5513</c:v>
                </c:pt>
                <c:pt idx="84">
                  <c:v>5168</c:v>
                </c:pt>
                <c:pt idx="85">
                  <c:v>5192</c:v>
                </c:pt>
                <c:pt idx="86">
                  <c:v>5314</c:v>
                </c:pt>
                <c:pt idx="87">
                  <c:v>5033</c:v>
                </c:pt>
                <c:pt idx="88">
                  <c:v>4962</c:v>
                </c:pt>
                <c:pt idx="89">
                  <c:v>4561</c:v>
                </c:pt>
                <c:pt idx="90">
                  <c:v>4448</c:v>
                </c:pt>
                <c:pt idx="91">
                  <c:v>4258</c:v>
                </c:pt>
                <c:pt idx="92">
                  <c:v>4347</c:v>
                </c:pt>
                <c:pt idx="93">
                  <c:v>4449</c:v>
                </c:pt>
                <c:pt idx="94">
                  <c:v>4280</c:v>
                </c:pt>
                <c:pt idx="95">
                  <c:v>4046</c:v>
                </c:pt>
                <c:pt idx="96">
                  <c:v>3824</c:v>
                </c:pt>
                <c:pt idx="97">
                  <c:v>3837</c:v>
                </c:pt>
                <c:pt idx="98">
                  <c:v>3685</c:v>
                </c:pt>
                <c:pt idx="99">
                  <c:v>3779</c:v>
                </c:pt>
                <c:pt idx="100">
                  <c:v>3880</c:v>
                </c:pt>
                <c:pt idx="101">
                  <c:v>3855</c:v>
                </c:pt>
                <c:pt idx="102">
                  <c:v>3685</c:v>
                </c:pt>
                <c:pt idx="103">
                  <c:v>3600</c:v>
                </c:pt>
                <c:pt idx="104">
                  <c:v>3657</c:v>
                </c:pt>
                <c:pt idx="105">
                  <c:v>3643</c:v>
                </c:pt>
                <c:pt idx="106">
                  <c:v>3714</c:v>
                </c:pt>
                <c:pt idx="107">
                  <c:v>3758</c:v>
                </c:pt>
                <c:pt idx="108">
                  <c:v>3764</c:v>
                </c:pt>
                <c:pt idx="109">
                  <c:v>3584</c:v>
                </c:pt>
                <c:pt idx="110">
                  <c:v>3471</c:v>
                </c:pt>
                <c:pt idx="111">
                  <c:v>3630</c:v>
                </c:pt>
                <c:pt idx="112">
                  <c:v>3695</c:v>
                </c:pt>
                <c:pt idx="113">
                  <c:v>3818</c:v>
                </c:pt>
                <c:pt idx="114">
                  <c:v>3803</c:v>
                </c:pt>
                <c:pt idx="115">
                  <c:v>3653</c:v>
                </c:pt>
                <c:pt idx="116">
                  <c:v>3587</c:v>
                </c:pt>
                <c:pt idx="117">
                  <c:v>3555</c:v>
                </c:pt>
                <c:pt idx="118">
                  <c:v>3715</c:v>
                </c:pt>
                <c:pt idx="119">
                  <c:v>3848</c:v>
                </c:pt>
                <c:pt idx="120">
                  <c:v>4027</c:v>
                </c:pt>
                <c:pt idx="121">
                  <c:v>4185</c:v>
                </c:pt>
                <c:pt idx="122">
                  <c:v>3959</c:v>
                </c:pt>
                <c:pt idx="123">
                  <c:v>3860</c:v>
                </c:pt>
                <c:pt idx="124">
                  <c:v>3628</c:v>
                </c:pt>
                <c:pt idx="125">
                  <c:v>4150</c:v>
                </c:pt>
                <c:pt idx="126">
                  <c:v>4369</c:v>
                </c:pt>
                <c:pt idx="127">
                  <c:v>4544</c:v>
                </c:pt>
                <c:pt idx="128">
                  <c:v>4759</c:v>
                </c:pt>
                <c:pt idx="129">
                  <c:v>4678</c:v>
                </c:pt>
                <c:pt idx="130">
                  <c:v>4445</c:v>
                </c:pt>
                <c:pt idx="131">
                  <c:v>4181</c:v>
                </c:pt>
                <c:pt idx="132">
                  <c:v>4493</c:v>
                </c:pt>
                <c:pt idx="133">
                  <c:v>4644</c:v>
                </c:pt>
                <c:pt idx="134">
                  <c:v>4823</c:v>
                </c:pt>
                <c:pt idx="135">
                  <c:v>4878</c:v>
                </c:pt>
                <c:pt idx="136">
                  <c:v>4661</c:v>
                </c:pt>
                <c:pt idx="137">
                  <c:v>4323</c:v>
                </c:pt>
                <c:pt idx="138">
                  <c:v>4061</c:v>
                </c:pt>
                <c:pt idx="139">
                  <c:v>4012</c:v>
                </c:pt>
                <c:pt idx="140">
                  <c:v>3849</c:v>
                </c:pt>
                <c:pt idx="141">
                  <c:v>3966</c:v>
                </c:pt>
                <c:pt idx="142">
                  <c:v>4076</c:v>
                </c:pt>
                <c:pt idx="143">
                  <c:v>3857</c:v>
                </c:pt>
                <c:pt idx="144">
                  <c:v>3711</c:v>
                </c:pt>
                <c:pt idx="145">
                  <c:v>3504</c:v>
                </c:pt>
                <c:pt idx="146">
                  <c:v>3481</c:v>
                </c:pt>
                <c:pt idx="147">
                  <c:v>3432</c:v>
                </c:pt>
                <c:pt idx="148">
                  <c:v>3510</c:v>
                </c:pt>
                <c:pt idx="149">
                  <c:v>3563</c:v>
                </c:pt>
                <c:pt idx="150">
                  <c:v>3344</c:v>
                </c:pt>
                <c:pt idx="151">
                  <c:v>3233</c:v>
                </c:pt>
                <c:pt idx="152">
                  <c:v>3024</c:v>
                </c:pt>
                <c:pt idx="153">
                  <c:v>3076</c:v>
                </c:pt>
                <c:pt idx="154">
                  <c:v>3100</c:v>
                </c:pt>
                <c:pt idx="155">
                  <c:v>3194</c:v>
                </c:pt>
                <c:pt idx="156">
                  <c:v>3251</c:v>
                </c:pt>
                <c:pt idx="157">
                  <c:v>3169</c:v>
                </c:pt>
                <c:pt idx="158">
                  <c:v>3039</c:v>
                </c:pt>
                <c:pt idx="159">
                  <c:v>2940</c:v>
                </c:pt>
                <c:pt idx="160">
                  <c:v>2983</c:v>
                </c:pt>
                <c:pt idx="161">
                  <c:v>2945</c:v>
                </c:pt>
                <c:pt idx="162">
                  <c:v>3001</c:v>
                </c:pt>
                <c:pt idx="163">
                  <c:v>3081</c:v>
                </c:pt>
                <c:pt idx="164">
                  <c:v>3004</c:v>
                </c:pt>
                <c:pt idx="165">
                  <c:v>2825</c:v>
                </c:pt>
                <c:pt idx="166">
                  <c:v>2692</c:v>
                </c:pt>
                <c:pt idx="167">
                  <c:v>2692</c:v>
                </c:pt>
                <c:pt idx="168">
                  <c:v>2600</c:v>
                </c:pt>
                <c:pt idx="169">
                  <c:v>2598</c:v>
                </c:pt>
                <c:pt idx="170">
                  <c:v>2637</c:v>
                </c:pt>
                <c:pt idx="171">
                  <c:v>2556</c:v>
                </c:pt>
                <c:pt idx="172">
                  <c:v>2457</c:v>
                </c:pt>
                <c:pt idx="173">
                  <c:v>2363</c:v>
                </c:pt>
                <c:pt idx="174">
                  <c:v>2445</c:v>
                </c:pt>
                <c:pt idx="175">
                  <c:v>2435</c:v>
                </c:pt>
                <c:pt idx="176">
                  <c:v>2465</c:v>
                </c:pt>
                <c:pt idx="177">
                  <c:v>2523</c:v>
                </c:pt>
                <c:pt idx="178">
                  <c:v>2500</c:v>
                </c:pt>
                <c:pt idx="179">
                  <c:v>2419</c:v>
                </c:pt>
                <c:pt idx="180">
                  <c:v>2362</c:v>
                </c:pt>
                <c:pt idx="181">
                  <c:v>2443</c:v>
                </c:pt>
                <c:pt idx="182">
                  <c:v>2404</c:v>
                </c:pt>
                <c:pt idx="183">
                  <c:v>2453</c:v>
                </c:pt>
                <c:pt idx="184">
                  <c:v>2484</c:v>
                </c:pt>
                <c:pt idx="185">
                  <c:v>2370</c:v>
                </c:pt>
                <c:pt idx="186">
                  <c:v>2290</c:v>
                </c:pt>
                <c:pt idx="187">
                  <c:v>2219</c:v>
                </c:pt>
                <c:pt idx="188">
                  <c:v>2237</c:v>
                </c:pt>
                <c:pt idx="189">
                  <c:v>2286</c:v>
                </c:pt>
                <c:pt idx="190">
                  <c:v>2360</c:v>
                </c:pt>
                <c:pt idx="191">
                  <c:v>2380</c:v>
                </c:pt>
                <c:pt idx="192">
                  <c:v>2425</c:v>
                </c:pt>
                <c:pt idx="193">
                  <c:v>2433</c:v>
                </c:pt>
                <c:pt idx="194">
                  <c:v>2440</c:v>
                </c:pt>
                <c:pt idx="195">
                  <c:v>2506</c:v>
                </c:pt>
                <c:pt idx="196">
                  <c:v>2406</c:v>
                </c:pt>
                <c:pt idx="197">
                  <c:v>2367</c:v>
                </c:pt>
                <c:pt idx="198">
                  <c:v>2311</c:v>
                </c:pt>
                <c:pt idx="199">
                  <c:v>2295</c:v>
                </c:pt>
                <c:pt idx="200">
                  <c:v>2240</c:v>
                </c:pt>
                <c:pt idx="201">
                  <c:v>2234</c:v>
                </c:pt>
                <c:pt idx="202">
                  <c:v>2270</c:v>
                </c:pt>
                <c:pt idx="203">
                  <c:v>2227</c:v>
                </c:pt>
                <c:pt idx="204">
                  <c:v>2168</c:v>
                </c:pt>
                <c:pt idx="205">
                  <c:v>2137</c:v>
                </c:pt>
                <c:pt idx="206">
                  <c:v>2109</c:v>
                </c:pt>
                <c:pt idx="207">
                  <c:v>2049</c:v>
                </c:pt>
                <c:pt idx="208">
                  <c:v>2041</c:v>
                </c:pt>
                <c:pt idx="209">
                  <c:v>2067</c:v>
                </c:pt>
                <c:pt idx="210">
                  <c:v>2027</c:v>
                </c:pt>
                <c:pt idx="211">
                  <c:v>1988</c:v>
                </c:pt>
                <c:pt idx="212">
                  <c:v>1964</c:v>
                </c:pt>
                <c:pt idx="213">
                  <c:v>1912</c:v>
                </c:pt>
                <c:pt idx="214">
                  <c:v>1886</c:v>
                </c:pt>
                <c:pt idx="215">
                  <c:v>1882</c:v>
                </c:pt>
                <c:pt idx="216">
                  <c:v>1886</c:v>
                </c:pt>
                <c:pt idx="217">
                  <c:v>1839</c:v>
                </c:pt>
                <c:pt idx="218">
                  <c:v>1830</c:v>
                </c:pt>
                <c:pt idx="219">
                  <c:v>1814</c:v>
                </c:pt>
                <c:pt idx="220">
                  <c:v>1778</c:v>
                </c:pt>
                <c:pt idx="221">
                  <c:v>1761</c:v>
                </c:pt>
                <c:pt idx="222">
                  <c:v>1756</c:v>
                </c:pt>
                <c:pt idx="223">
                  <c:v>1763</c:v>
                </c:pt>
                <c:pt idx="224">
                  <c:v>1729</c:v>
                </c:pt>
                <c:pt idx="225">
                  <c:v>1702</c:v>
                </c:pt>
                <c:pt idx="226">
                  <c:v>1684</c:v>
                </c:pt>
                <c:pt idx="227">
                  <c:v>1664</c:v>
                </c:pt>
                <c:pt idx="228">
                  <c:v>1661</c:v>
                </c:pt>
                <c:pt idx="229">
                  <c:v>1660</c:v>
                </c:pt>
                <c:pt idx="230">
                  <c:v>1677</c:v>
                </c:pt>
                <c:pt idx="231">
                  <c:v>1668</c:v>
                </c:pt>
                <c:pt idx="232">
                  <c:v>1638</c:v>
                </c:pt>
                <c:pt idx="233">
                  <c:v>1628</c:v>
                </c:pt>
                <c:pt idx="234">
                  <c:v>1624</c:v>
                </c:pt>
                <c:pt idx="235">
                  <c:v>1609</c:v>
                </c:pt>
                <c:pt idx="236">
                  <c:v>1604</c:v>
                </c:pt>
                <c:pt idx="237">
                  <c:v>1611</c:v>
                </c:pt>
                <c:pt idx="238">
                  <c:v>1608</c:v>
                </c:pt>
                <c:pt idx="239">
                  <c:v>1601</c:v>
                </c:pt>
                <c:pt idx="240">
                  <c:v>1597</c:v>
                </c:pt>
                <c:pt idx="241">
                  <c:v>1594</c:v>
                </c:pt>
                <c:pt idx="242">
                  <c:v>1585</c:v>
                </c:pt>
                <c:pt idx="243">
                  <c:v>1584</c:v>
                </c:pt>
                <c:pt idx="244">
                  <c:v>1589</c:v>
                </c:pt>
                <c:pt idx="245">
                  <c:v>1572</c:v>
                </c:pt>
                <c:pt idx="246">
                  <c:v>1565</c:v>
                </c:pt>
                <c:pt idx="247">
                  <c:v>1560</c:v>
                </c:pt>
                <c:pt idx="248">
                  <c:v>1558</c:v>
                </c:pt>
                <c:pt idx="249">
                  <c:v>1547</c:v>
                </c:pt>
                <c:pt idx="250">
                  <c:v>1547</c:v>
                </c:pt>
                <c:pt idx="251">
                  <c:v>1554</c:v>
                </c:pt>
                <c:pt idx="252">
                  <c:v>1550</c:v>
                </c:pt>
                <c:pt idx="253">
                  <c:v>1543</c:v>
                </c:pt>
                <c:pt idx="254">
                  <c:v>1543</c:v>
                </c:pt>
                <c:pt idx="255">
                  <c:v>1543</c:v>
                </c:pt>
                <c:pt idx="256">
                  <c:v>1536</c:v>
                </c:pt>
                <c:pt idx="257">
                  <c:v>1535</c:v>
                </c:pt>
                <c:pt idx="258">
                  <c:v>1540</c:v>
                </c:pt>
                <c:pt idx="259">
                  <c:v>1538</c:v>
                </c:pt>
                <c:pt idx="260">
                  <c:v>1537</c:v>
                </c:pt>
                <c:pt idx="261">
                  <c:v>1536</c:v>
                </c:pt>
                <c:pt idx="262">
                  <c:v>1535</c:v>
                </c:pt>
                <c:pt idx="263">
                  <c:v>1531</c:v>
                </c:pt>
                <c:pt idx="264">
                  <c:v>1530</c:v>
                </c:pt>
                <c:pt idx="265">
                  <c:v>1533</c:v>
                </c:pt>
                <c:pt idx="266">
                  <c:v>1530</c:v>
                </c:pt>
                <c:pt idx="267">
                  <c:v>1526</c:v>
                </c:pt>
                <c:pt idx="268">
                  <c:v>1524</c:v>
                </c:pt>
                <c:pt idx="269">
                  <c:v>1521</c:v>
                </c:pt>
                <c:pt idx="270">
                  <c:v>1519</c:v>
                </c:pt>
                <c:pt idx="271">
                  <c:v>1516</c:v>
                </c:pt>
                <c:pt idx="272">
                  <c:v>1516</c:v>
                </c:pt>
                <c:pt idx="273">
                  <c:v>1511</c:v>
                </c:pt>
                <c:pt idx="274">
                  <c:v>1511</c:v>
                </c:pt>
                <c:pt idx="275">
                  <c:v>1507</c:v>
                </c:pt>
                <c:pt idx="276">
                  <c:v>1502</c:v>
                </c:pt>
                <c:pt idx="277">
                  <c:v>1501</c:v>
                </c:pt>
                <c:pt idx="278">
                  <c:v>1501</c:v>
                </c:pt>
                <c:pt idx="279">
                  <c:v>1501</c:v>
                </c:pt>
                <c:pt idx="280">
                  <c:v>1499</c:v>
                </c:pt>
                <c:pt idx="281">
                  <c:v>1496</c:v>
                </c:pt>
                <c:pt idx="282">
                  <c:v>1495</c:v>
                </c:pt>
                <c:pt idx="283">
                  <c:v>1496</c:v>
                </c:pt>
                <c:pt idx="284">
                  <c:v>1494</c:v>
                </c:pt>
                <c:pt idx="285">
                  <c:v>1493</c:v>
                </c:pt>
                <c:pt idx="286">
                  <c:v>1493</c:v>
                </c:pt>
                <c:pt idx="287">
                  <c:v>1493</c:v>
                </c:pt>
                <c:pt idx="288">
                  <c:v>1493</c:v>
                </c:pt>
                <c:pt idx="289">
                  <c:v>1492</c:v>
                </c:pt>
                <c:pt idx="290">
                  <c:v>1492</c:v>
                </c:pt>
                <c:pt idx="291">
                  <c:v>1492</c:v>
                </c:pt>
                <c:pt idx="292">
                  <c:v>1492</c:v>
                </c:pt>
                <c:pt idx="293">
                  <c:v>1492</c:v>
                </c:pt>
                <c:pt idx="294">
                  <c:v>1492</c:v>
                </c:pt>
                <c:pt idx="295">
                  <c:v>1493</c:v>
                </c:pt>
                <c:pt idx="296">
                  <c:v>1494</c:v>
                </c:pt>
                <c:pt idx="297">
                  <c:v>1493</c:v>
                </c:pt>
                <c:pt idx="298">
                  <c:v>1492</c:v>
                </c:pt>
                <c:pt idx="299">
                  <c:v>1492</c:v>
                </c:pt>
                <c:pt idx="300">
                  <c:v>1493</c:v>
                </c:pt>
                <c:pt idx="301">
                  <c:v>1493</c:v>
                </c:pt>
                <c:pt idx="302">
                  <c:v>1493</c:v>
                </c:pt>
                <c:pt idx="303">
                  <c:v>1494</c:v>
                </c:pt>
                <c:pt idx="304">
                  <c:v>1492</c:v>
                </c:pt>
                <c:pt idx="305">
                  <c:v>1492</c:v>
                </c:pt>
                <c:pt idx="306">
                  <c:v>1493</c:v>
                </c:pt>
                <c:pt idx="307">
                  <c:v>1493</c:v>
                </c:pt>
                <c:pt idx="308">
                  <c:v>1494</c:v>
                </c:pt>
                <c:pt idx="309">
                  <c:v>1495</c:v>
                </c:pt>
                <c:pt idx="310">
                  <c:v>1495</c:v>
                </c:pt>
                <c:pt idx="311">
                  <c:v>1495</c:v>
                </c:pt>
                <c:pt idx="312">
                  <c:v>1495</c:v>
                </c:pt>
                <c:pt idx="313">
                  <c:v>1496</c:v>
                </c:pt>
                <c:pt idx="314">
                  <c:v>1496</c:v>
                </c:pt>
                <c:pt idx="315">
                  <c:v>1496</c:v>
                </c:pt>
                <c:pt idx="316">
                  <c:v>1496</c:v>
                </c:pt>
                <c:pt idx="317">
                  <c:v>1496</c:v>
                </c:pt>
                <c:pt idx="318">
                  <c:v>1495</c:v>
                </c:pt>
                <c:pt idx="319">
                  <c:v>1495</c:v>
                </c:pt>
                <c:pt idx="320">
                  <c:v>1495</c:v>
                </c:pt>
                <c:pt idx="321">
                  <c:v>1495</c:v>
                </c:pt>
                <c:pt idx="322">
                  <c:v>1494</c:v>
                </c:pt>
                <c:pt idx="323">
                  <c:v>1495</c:v>
                </c:pt>
                <c:pt idx="324">
                  <c:v>1494</c:v>
                </c:pt>
                <c:pt idx="325">
                  <c:v>1494</c:v>
                </c:pt>
                <c:pt idx="326">
                  <c:v>1494</c:v>
                </c:pt>
                <c:pt idx="327">
                  <c:v>1493</c:v>
                </c:pt>
                <c:pt idx="328">
                  <c:v>1492</c:v>
                </c:pt>
                <c:pt idx="329">
                  <c:v>1493</c:v>
                </c:pt>
                <c:pt idx="330">
                  <c:v>1494</c:v>
                </c:pt>
                <c:pt idx="331">
                  <c:v>1494</c:v>
                </c:pt>
                <c:pt idx="332">
                  <c:v>1494</c:v>
                </c:pt>
                <c:pt idx="333">
                  <c:v>1494</c:v>
                </c:pt>
                <c:pt idx="334">
                  <c:v>1494</c:v>
                </c:pt>
                <c:pt idx="335">
                  <c:v>1494</c:v>
                </c:pt>
                <c:pt idx="336">
                  <c:v>1493</c:v>
                </c:pt>
                <c:pt idx="337">
                  <c:v>1493</c:v>
                </c:pt>
                <c:pt idx="338">
                  <c:v>1492</c:v>
                </c:pt>
                <c:pt idx="339">
                  <c:v>1492</c:v>
                </c:pt>
                <c:pt idx="340">
                  <c:v>1492</c:v>
                </c:pt>
                <c:pt idx="341">
                  <c:v>1493</c:v>
                </c:pt>
                <c:pt idx="342">
                  <c:v>1493</c:v>
                </c:pt>
                <c:pt idx="343">
                  <c:v>1492</c:v>
                </c:pt>
                <c:pt idx="344">
                  <c:v>1492</c:v>
                </c:pt>
                <c:pt idx="345">
                  <c:v>1492</c:v>
                </c:pt>
                <c:pt idx="346">
                  <c:v>1492</c:v>
                </c:pt>
                <c:pt idx="347">
                  <c:v>1492</c:v>
                </c:pt>
                <c:pt idx="348">
                  <c:v>1493</c:v>
                </c:pt>
                <c:pt idx="349">
                  <c:v>1494</c:v>
                </c:pt>
                <c:pt idx="350">
                  <c:v>1494</c:v>
                </c:pt>
                <c:pt idx="351">
                  <c:v>1494</c:v>
                </c:pt>
                <c:pt idx="352">
                  <c:v>1495</c:v>
                </c:pt>
                <c:pt idx="353">
                  <c:v>1494</c:v>
                </c:pt>
                <c:pt idx="354">
                  <c:v>1494</c:v>
                </c:pt>
                <c:pt idx="355">
                  <c:v>1494</c:v>
                </c:pt>
                <c:pt idx="356">
                  <c:v>1497</c:v>
                </c:pt>
                <c:pt idx="357">
                  <c:v>1497</c:v>
                </c:pt>
                <c:pt idx="358">
                  <c:v>1497</c:v>
                </c:pt>
                <c:pt idx="359">
                  <c:v>1497</c:v>
                </c:pt>
                <c:pt idx="360">
                  <c:v>1498</c:v>
                </c:pt>
                <c:pt idx="361">
                  <c:v>1497</c:v>
                </c:pt>
                <c:pt idx="362">
                  <c:v>1498</c:v>
                </c:pt>
                <c:pt idx="363">
                  <c:v>1497</c:v>
                </c:pt>
                <c:pt idx="364">
                  <c:v>1497</c:v>
                </c:pt>
                <c:pt idx="365">
                  <c:v>1503</c:v>
                </c:pt>
                <c:pt idx="366">
                  <c:v>1508</c:v>
                </c:pt>
                <c:pt idx="367">
                  <c:v>1511</c:v>
                </c:pt>
                <c:pt idx="368">
                  <c:v>1512</c:v>
                </c:pt>
                <c:pt idx="369">
                  <c:v>1511</c:v>
                </c:pt>
                <c:pt idx="370">
                  <c:v>1516</c:v>
                </c:pt>
                <c:pt idx="371">
                  <c:v>1514</c:v>
                </c:pt>
                <c:pt idx="372">
                  <c:v>1515</c:v>
                </c:pt>
                <c:pt idx="373">
                  <c:v>1516</c:v>
                </c:pt>
                <c:pt idx="374">
                  <c:v>1517</c:v>
                </c:pt>
                <c:pt idx="375">
                  <c:v>1516</c:v>
                </c:pt>
                <c:pt idx="376">
                  <c:v>1515</c:v>
                </c:pt>
                <c:pt idx="377">
                  <c:v>1516</c:v>
                </c:pt>
                <c:pt idx="378">
                  <c:v>1517</c:v>
                </c:pt>
                <c:pt idx="379">
                  <c:v>1516</c:v>
                </c:pt>
                <c:pt idx="380">
                  <c:v>1515</c:v>
                </c:pt>
                <c:pt idx="381">
                  <c:v>1512</c:v>
                </c:pt>
                <c:pt idx="382">
                  <c:v>1510</c:v>
                </c:pt>
                <c:pt idx="383">
                  <c:v>1510</c:v>
                </c:pt>
                <c:pt idx="384">
                  <c:v>1515</c:v>
                </c:pt>
                <c:pt idx="385">
                  <c:v>1515</c:v>
                </c:pt>
                <c:pt idx="386">
                  <c:v>1515</c:v>
                </c:pt>
                <c:pt idx="387">
                  <c:v>1513</c:v>
                </c:pt>
                <c:pt idx="388">
                  <c:v>1513</c:v>
                </c:pt>
                <c:pt idx="389">
                  <c:v>1514</c:v>
                </c:pt>
                <c:pt idx="390">
                  <c:v>1515</c:v>
                </c:pt>
                <c:pt idx="391">
                  <c:v>1520</c:v>
                </c:pt>
                <c:pt idx="392">
                  <c:v>1519</c:v>
                </c:pt>
                <c:pt idx="393">
                  <c:v>1524</c:v>
                </c:pt>
                <c:pt idx="394">
                  <c:v>1524</c:v>
                </c:pt>
                <c:pt idx="395">
                  <c:v>1525</c:v>
                </c:pt>
                <c:pt idx="396">
                  <c:v>1525</c:v>
                </c:pt>
                <c:pt idx="397">
                  <c:v>1525</c:v>
                </c:pt>
                <c:pt idx="398">
                  <c:v>1530</c:v>
                </c:pt>
                <c:pt idx="399">
                  <c:v>1534</c:v>
                </c:pt>
                <c:pt idx="400">
                  <c:v>1539</c:v>
                </c:pt>
                <c:pt idx="401">
                  <c:v>1539</c:v>
                </c:pt>
                <c:pt idx="402">
                  <c:v>1565</c:v>
                </c:pt>
                <c:pt idx="403">
                  <c:v>1566</c:v>
                </c:pt>
                <c:pt idx="404">
                  <c:v>1564</c:v>
                </c:pt>
                <c:pt idx="405">
                  <c:v>1567</c:v>
                </c:pt>
                <c:pt idx="406">
                  <c:v>1565</c:v>
                </c:pt>
                <c:pt idx="407">
                  <c:v>1584</c:v>
                </c:pt>
                <c:pt idx="408">
                  <c:v>1584</c:v>
                </c:pt>
                <c:pt idx="409">
                  <c:v>1591</c:v>
                </c:pt>
                <c:pt idx="410">
                  <c:v>1590</c:v>
                </c:pt>
                <c:pt idx="411">
                  <c:v>1590</c:v>
                </c:pt>
                <c:pt idx="412">
                  <c:v>1606</c:v>
                </c:pt>
                <c:pt idx="413">
                  <c:v>1611</c:v>
                </c:pt>
                <c:pt idx="414">
                  <c:v>1618</c:v>
                </c:pt>
                <c:pt idx="415">
                  <c:v>1620</c:v>
                </c:pt>
                <c:pt idx="416">
                  <c:v>1612</c:v>
                </c:pt>
                <c:pt idx="417">
                  <c:v>1606</c:v>
                </c:pt>
                <c:pt idx="418">
                  <c:v>1608</c:v>
                </c:pt>
                <c:pt idx="419">
                  <c:v>1640</c:v>
                </c:pt>
                <c:pt idx="420">
                  <c:v>1651</c:v>
                </c:pt>
                <c:pt idx="421">
                  <c:v>1674</c:v>
                </c:pt>
                <c:pt idx="422">
                  <c:v>1659</c:v>
                </c:pt>
                <c:pt idx="423">
                  <c:v>1682</c:v>
                </c:pt>
                <c:pt idx="424">
                  <c:v>1685</c:v>
                </c:pt>
                <c:pt idx="425">
                  <c:v>1695</c:v>
                </c:pt>
                <c:pt idx="426">
                  <c:v>1771</c:v>
                </c:pt>
                <c:pt idx="427">
                  <c:v>1794</c:v>
                </c:pt>
                <c:pt idx="428">
                  <c:v>1812</c:v>
                </c:pt>
                <c:pt idx="429">
                  <c:v>1874</c:v>
                </c:pt>
                <c:pt idx="430">
                  <c:v>1911</c:v>
                </c:pt>
                <c:pt idx="431">
                  <c:v>1912</c:v>
                </c:pt>
                <c:pt idx="432">
                  <c:v>1913</c:v>
                </c:pt>
                <c:pt idx="433">
                  <c:v>1988</c:v>
                </c:pt>
                <c:pt idx="434">
                  <c:v>2020</c:v>
                </c:pt>
                <c:pt idx="435">
                  <c:v>2038</c:v>
                </c:pt>
                <c:pt idx="436">
                  <c:v>2074</c:v>
                </c:pt>
                <c:pt idx="437">
                  <c:v>2115</c:v>
                </c:pt>
                <c:pt idx="438">
                  <c:v>2119</c:v>
                </c:pt>
                <c:pt idx="439">
                  <c:v>2130</c:v>
                </c:pt>
                <c:pt idx="440">
                  <c:v>2210</c:v>
                </c:pt>
                <c:pt idx="441">
                  <c:v>2208</c:v>
                </c:pt>
                <c:pt idx="442">
                  <c:v>2195</c:v>
                </c:pt>
                <c:pt idx="443">
                  <c:v>2243</c:v>
                </c:pt>
                <c:pt idx="444">
                  <c:v>2322</c:v>
                </c:pt>
                <c:pt idx="445">
                  <c:v>2313</c:v>
                </c:pt>
                <c:pt idx="446">
                  <c:v>2306</c:v>
                </c:pt>
                <c:pt idx="447">
                  <c:v>2413</c:v>
                </c:pt>
                <c:pt idx="448">
                  <c:v>2401</c:v>
                </c:pt>
                <c:pt idx="449">
                  <c:v>2420</c:v>
                </c:pt>
                <c:pt idx="450">
                  <c:v>2421</c:v>
                </c:pt>
                <c:pt idx="451">
                  <c:v>2463</c:v>
                </c:pt>
                <c:pt idx="452">
                  <c:v>2436</c:v>
                </c:pt>
                <c:pt idx="453">
                  <c:v>2425</c:v>
                </c:pt>
                <c:pt idx="454">
                  <c:v>2492</c:v>
                </c:pt>
                <c:pt idx="455">
                  <c:v>2454</c:v>
                </c:pt>
                <c:pt idx="456">
                  <c:v>2421</c:v>
                </c:pt>
                <c:pt idx="457">
                  <c:v>2439</c:v>
                </c:pt>
                <c:pt idx="458">
                  <c:v>2297</c:v>
                </c:pt>
                <c:pt idx="459">
                  <c:v>2281</c:v>
                </c:pt>
                <c:pt idx="460">
                  <c:v>2252</c:v>
                </c:pt>
                <c:pt idx="461">
                  <c:v>2307</c:v>
                </c:pt>
                <c:pt idx="462">
                  <c:v>2246</c:v>
                </c:pt>
                <c:pt idx="463">
                  <c:v>2215</c:v>
                </c:pt>
                <c:pt idx="464">
                  <c:v>2165</c:v>
                </c:pt>
                <c:pt idx="465">
                  <c:v>2105</c:v>
                </c:pt>
                <c:pt idx="466">
                  <c:v>2054</c:v>
                </c:pt>
                <c:pt idx="467">
                  <c:v>2047</c:v>
                </c:pt>
                <c:pt idx="468">
                  <c:v>2079</c:v>
                </c:pt>
                <c:pt idx="469">
                  <c:v>2035</c:v>
                </c:pt>
                <c:pt idx="470">
                  <c:v>1996</c:v>
                </c:pt>
                <c:pt idx="471">
                  <c:v>1949</c:v>
                </c:pt>
                <c:pt idx="472">
                  <c:v>1908</c:v>
                </c:pt>
                <c:pt idx="473">
                  <c:v>1815</c:v>
                </c:pt>
                <c:pt idx="474">
                  <c:v>1810</c:v>
                </c:pt>
                <c:pt idx="475">
                  <c:v>1837</c:v>
                </c:pt>
                <c:pt idx="476">
                  <c:v>1765</c:v>
                </c:pt>
                <c:pt idx="477">
                  <c:v>1713</c:v>
                </c:pt>
                <c:pt idx="478">
                  <c:v>1648</c:v>
                </c:pt>
                <c:pt idx="479">
                  <c:v>1612</c:v>
                </c:pt>
                <c:pt idx="480">
                  <c:v>1577</c:v>
                </c:pt>
                <c:pt idx="481">
                  <c:v>1563</c:v>
                </c:pt>
                <c:pt idx="482">
                  <c:v>1571</c:v>
                </c:pt>
                <c:pt idx="483">
                  <c:v>1528</c:v>
                </c:pt>
                <c:pt idx="484">
                  <c:v>1492</c:v>
                </c:pt>
                <c:pt idx="485">
                  <c:v>1466</c:v>
                </c:pt>
                <c:pt idx="486">
                  <c:v>1447</c:v>
                </c:pt>
                <c:pt idx="487">
                  <c:v>1419</c:v>
                </c:pt>
                <c:pt idx="488">
                  <c:v>1407</c:v>
                </c:pt>
                <c:pt idx="489">
                  <c:v>1419</c:v>
                </c:pt>
                <c:pt idx="490">
                  <c:v>1393</c:v>
                </c:pt>
                <c:pt idx="491">
                  <c:v>1383</c:v>
                </c:pt>
                <c:pt idx="492">
                  <c:v>1383</c:v>
                </c:pt>
                <c:pt idx="493">
                  <c:v>1383</c:v>
                </c:pt>
                <c:pt idx="494">
                  <c:v>1378</c:v>
                </c:pt>
                <c:pt idx="495">
                  <c:v>1375</c:v>
                </c:pt>
                <c:pt idx="496">
                  <c:v>1390</c:v>
                </c:pt>
                <c:pt idx="497">
                  <c:v>1370</c:v>
                </c:pt>
                <c:pt idx="498">
                  <c:v>1363</c:v>
                </c:pt>
                <c:pt idx="499">
                  <c:v>1355</c:v>
                </c:pt>
                <c:pt idx="500">
                  <c:v>1356</c:v>
                </c:pt>
                <c:pt idx="501">
                  <c:v>1356</c:v>
                </c:pt>
                <c:pt idx="502">
                  <c:v>1369</c:v>
                </c:pt>
                <c:pt idx="503">
                  <c:v>1431</c:v>
                </c:pt>
                <c:pt idx="504">
                  <c:v>1455</c:v>
                </c:pt>
                <c:pt idx="505">
                  <c:v>1486</c:v>
                </c:pt>
                <c:pt idx="506">
                  <c:v>1545</c:v>
                </c:pt>
                <c:pt idx="507">
                  <c:v>1607</c:v>
                </c:pt>
                <c:pt idx="508">
                  <c:v>1620</c:v>
                </c:pt>
                <c:pt idx="509">
                  <c:v>1625</c:v>
                </c:pt>
                <c:pt idx="510">
                  <c:v>1729</c:v>
                </c:pt>
                <c:pt idx="511">
                  <c:v>1827</c:v>
                </c:pt>
                <c:pt idx="512">
                  <c:v>1948</c:v>
                </c:pt>
                <c:pt idx="513">
                  <c:v>2020</c:v>
                </c:pt>
                <c:pt idx="514">
                  <c:v>2073</c:v>
                </c:pt>
                <c:pt idx="515">
                  <c:v>2055</c:v>
                </c:pt>
                <c:pt idx="516">
                  <c:v>2031</c:v>
                </c:pt>
                <c:pt idx="517">
                  <c:v>2113</c:v>
                </c:pt>
                <c:pt idx="518">
                  <c:v>2180</c:v>
                </c:pt>
                <c:pt idx="519">
                  <c:v>2267</c:v>
                </c:pt>
                <c:pt idx="520">
                  <c:v>2319</c:v>
                </c:pt>
                <c:pt idx="521">
                  <c:v>2312</c:v>
                </c:pt>
                <c:pt idx="522">
                  <c:v>2175</c:v>
                </c:pt>
                <c:pt idx="523">
                  <c:v>2061</c:v>
                </c:pt>
                <c:pt idx="524">
                  <c:v>2122</c:v>
                </c:pt>
                <c:pt idx="525">
                  <c:v>2112</c:v>
                </c:pt>
                <c:pt idx="526">
                  <c:v>2157</c:v>
                </c:pt>
                <c:pt idx="527">
                  <c:v>2210</c:v>
                </c:pt>
                <c:pt idx="528">
                  <c:v>2119</c:v>
                </c:pt>
                <c:pt idx="529">
                  <c:v>1953</c:v>
                </c:pt>
                <c:pt idx="530">
                  <c:v>1852</c:v>
                </c:pt>
                <c:pt idx="531">
                  <c:v>1872</c:v>
                </c:pt>
                <c:pt idx="532">
                  <c:v>1839</c:v>
                </c:pt>
                <c:pt idx="533">
                  <c:v>1907</c:v>
                </c:pt>
                <c:pt idx="534">
                  <c:v>1963</c:v>
                </c:pt>
                <c:pt idx="535">
                  <c:v>1760</c:v>
                </c:pt>
                <c:pt idx="536">
                  <c:v>1603</c:v>
                </c:pt>
                <c:pt idx="537">
                  <c:v>1500</c:v>
                </c:pt>
                <c:pt idx="538">
                  <c:v>1457</c:v>
                </c:pt>
                <c:pt idx="539">
                  <c:v>1386</c:v>
                </c:pt>
                <c:pt idx="540">
                  <c:v>1420</c:v>
                </c:pt>
                <c:pt idx="541">
                  <c:v>1435</c:v>
                </c:pt>
                <c:pt idx="542">
                  <c:v>1278</c:v>
                </c:pt>
                <c:pt idx="543">
                  <c:v>1152</c:v>
                </c:pt>
                <c:pt idx="544">
                  <c:v>995</c:v>
                </c:pt>
                <c:pt idx="545">
                  <c:v>956</c:v>
                </c:pt>
                <c:pt idx="546">
                  <c:v>915</c:v>
                </c:pt>
                <c:pt idx="547">
                  <c:v>934</c:v>
                </c:pt>
                <c:pt idx="548">
                  <c:v>940</c:v>
                </c:pt>
                <c:pt idx="549">
                  <c:v>839</c:v>
                </c:pt>
                <c:pt idx="550">
                  <c:v>738</c:v>
                </c:pt>
                <c:pt idx="551">
                  <c:v>667</c:v>
                </c:pt>
                <c:pt idx="552">
                  <c:v>651</c:v>
                </c:pt>
                <c:pt idx="553">
                  <c:v>664</c:v>
                </c:pt>
                <c:pt idx="554">
                  <c:v>686</c:v>
                </c:pt>
                <c:pt idx="555">
                  <c:v>688</c:v>
                </c:pt>
                <c:pt idx="556">
                  <c:v>616</c:v>
                </c:pt>
                <c:pt idx="557">
                  <c:v>556</c:v>
                </c:pt>
                <c:pt idx="558">
                  <c:v>507</c:v>
                </c:pt>
                <c:pt idx="559">
                  <c:v>504</c:v>
                </c:pt>
                <c:pt idx="560">
                  <c:v>522</c:v>
                </c:pt>
                <c:pt idx="561">
                  <c:v>533</c:v>
                </c:pt>
                <c:pt idx="562">
                  <c:v>534</c:v>
                </c:pt>
                <c:pt idx="563">
                  <c:v>4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C7-418F-9894-CC9725FB54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Úmrtí klientů podle</a:t>
            </a:r>
            <a:r>
              <a:rPr lang="cs-CZ" baseline="0" dirty="0">
                <a:solidFill>
                  <a:schemeClr val="tx1"/>
                </a:solidFill>
              </a:rPr>
              <a:t> věku kumulativně</a:t>
            </a:r>
            <a:endParaRPr lang="cs-CZ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C$2:$C$104</c:f>
              <c:numCache>
                <c:formatCode>General</c:formatCode>
                <c:ptCount val="10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2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3</c:v>
                </c:pt>
                <c:pt idx="32">
                  <c:v>1</c:v>
                </c:pt>
                <c:pt idx="33">
                  <c:v>1</c:v>
                </c:pt>
                <c:pt idx="34">
                  <c:v>0</c:v>
                </c:pt>
                <c:pt idx="35">
                  <c:v>1</c:v>
                </c:pt>
                <c:pt idx="36">
                  <c:v>0</c:v>
                </c:pt>
                <c:pt idx="37">
                  <c:v>3</c:v>
                </c:pt>
                <c:pt idx="38">
                  <c:v>1</c:v>
                </c:pt>
                <c:pt idx="39">
                  <c:v>3</c:v>
                </c:pt>
                <c:pt idx="40">
                  <c:v>0</c:v>
                </c:pt>
                <c:pt idx="41">
                  <c:v>2</c:v>
                </c:pt>
                <c:pt idx="42">
                  <c:v>2</c:v>
                </c:pt>
                <c:pt idx="43">
                  <c:v>0</c:v>
                </c:pt>
                <c:pt idx="44">
                  <c:v>1</c:v>
                </c:pt>
                <c:pt idx="45">
                  <c:v>2</c:v>
                </c:pt>
                <c:pt idx="46">
                  <c:v>5</c:v>
                </c:pt>
                <c:pt idx="47">
                  <c:v>3</c:v>
                </c:pt>
                <c:pt idx="48">
                  <c:v>3</c:v>
                </c:pt>
                <c:pt idx="49">
                  <c:v>4</c:v>
                </c:pt>
                <c:pt idx="50">
                  <c:v>5</c:v>
                </c:pt>
                <c:pt idx="51">
                  <c:v>4</c:v>
                </c:pt>
                <c:pt idx="52">
                  <c:v>4</c:v>
                </c:pt>
                <c:pt idx="53">
                  <c:v>6</c:v>
                </c:pt>
                <c:pt idx="54">
                  <c:v>3</c:v>
                </c:pt>
                <c:pt idx="55">
                  <c:v>11</c:v>
                </c:pt>
                <c:pt idx="56">
                  <c:v>11</c:v>
                </c:pt>
                <c:pt idx="57">
                  <c:v>17</c:v>
                </c:pt>
                <c:pt idx="58">
                  <c:v>11</c:v>
                </c:pt>
                <c:pt idx="59">
                  <c:v>19</c:v>
                </c:pt>
                <c:pt idx="60">
                  <c:v>22</c:v>
                </c:pt>
                <c:pt idx="61">
                  <c:v>20</c:v>
                </c:pt>
                <c:pt idx="62">
                  <c:v>23</c:v>
                </c:pt>
                <c:pt idx="63">
                  <c:v>31</c:v>
                </c:pt>
                <c:pt idx="64">
                  <c:v>31</c:v>
                </c:pt>
                <c:pt idx="65">
                  <c:v>40</c:v>
                </c:pt>
                <c:pt idx="66">
                  <c:v>47</c:v>
                </c:pt>
                <c:pt idx="67">
                  <c:v>38</c:v>
                </c:pt>
                <c:pt idx="68">
                  <c:v>58</c:v>
                </c:pt>
                <c:pt idx="69">
                  <c:v>63</c:v>
                </c:pt>
                <c:pt idx="70">
                  <c:v>82</c:v>
                </c:pt>
                <c:pt idx="71">
                  <c:v>70</c:v>
                </c:pt>
                <c:pt idx="72">
                  <c:v>88</c:v>
                </c:pt>
                <c:pt idx="73">
                  <c:v>87</c:v>
                </c:pt>
                <c:pt idx="74">
                  <c:v>104</c:v>
                </c:pt>
                <c:pt idx="75">
                  <c:v>109</c:v>
                </c:pt>
                <c:pt idx="76">
                  <c:v>124</c:v>
                </c:pt>
                <c:pt idx="77">
                  <c:v>127</c:v>
                </c:pt>
                <c:pt idx="78">
                  <c:v>115</c:v>
                </c:pt>
                <c:pt idx="79">
                  <c:v>139</c:v>
                </c:pt>
                <c:pt idx="80">
                  <c:v>143</c:v>
                </c:pt>
                <c:pt idx="81">
                  <c:v>159</c:v>
                </c:pt>
                <c:pt idx="82">
                  <c:v>191</c:v>
                </c:pt>
                <c:pt idx="83">
                  <c:v>162</c:v>
                </c:pt>
                <c:pt idx="84">
                  <c:v>200</c:v>
                </c:pt>
                <c:pt idx="85">
                  <c:v>202</c:v>
                </c:pt>
                <c:pt idx="86">
                  <c:v>187</c:v>
                </c:pt>
                <c:pt idx="87">
                  <c:v>182</c:v>
                </c:pt>
                <c:pt idx="88">
                  <c:v>156</c:v>
                </c:pt>
                <c:pt idx="89">
                  <c:v>108</c:v>
                </c:pt>
                <c:pt idx="90">
                  <c:v>93</c:v>
                </c:pt>
                <c:pt idx="91">
                  <c:v>64</c:v>
                </c:pt>
                <c:pt idx="92">
                  <c:v>62</c:v>
                </c:pt>
                <c:pt idx="93">
                  <c:v>51</c:v>
                </c:pt>
                <c:pt idx="94">
                  <c:v>30</c:v>
                </c:pt>
                <c:pt idx="95">
                  <c:v>22</c:v>
                </c:pt>
                <c:pt idx="96">
                  <c:v>10</c:v>
                </c:pt>
                <c:pt idx="97">
                  <c:v>5</c:v>
                </c:pt>
                <c:pt idx="98">
                  <c:v>0</c:v>
                </c:pt>
                <c:pt idx="99">
                  <c:v>0</c:v>
                </c:pt>
                <c:pt idx="100">
                  <c:v>1</c:v>
                </c:pt>
                <c:pt idx="101">
                  <c:v>1</c:v>
                </c:pt>
                <c:pt idx="10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A-4DA2-A610-EEBC9E60CB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Pozitivní klienti podle věku kumulativně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4</c:f>
              <c:numCache>
                <c:formatCode>General</c:formatCode>
                <c:ptCount val="103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  <c:pt idx="26">
                  <c:v>30</c:v>
                </c:pt>
                <c:pt idx="27">
                  <c:v>31</c:v>
                </c:pt>
                <c:pt idx="28">
                  <c:v>32</c:v>
                </c:pt>
                <c:pt idx="29">
                  <c:v>33</c:v>
                </c:pt>
                <c:pt idx="30">
                  <c:v>34</c:v>
                </c:pt>
                <c:pt idx="31">
                  <c:v>35</c:v>
                </c:pt>
                <c:pt idx="32">
                  <c:v>36</c:v>
                </c:pt>
                <c:pt idx="33">
                  <c:v>37</c:v>
                </c:pt>
                <c:pt idx="34">
                  <c:v>38</c:v>
                </c:pt>
                <c:pt idx="35">
                  <c:v>39</c:v>
                </c:pt>
                <c:pt idx="36">
                  <c:v>40</c:v>
                </c:pt>
                <c:pt idx="37">
                  <c:v>41</c:v>
                </c:pt>
                <c:pt idx="38">
                  <c:v>42</c:v>
                </c:pt>
                <c:pt idx="39">
                  <c:v>43</c:v>
                </c:pt>
                <c:pt idx="40">
                  <c:v>44</c:v>
                </c:pt>
                <c:pt idx="41">
                  <c:v>45</c:v>
                </c:pt>
                <c:pt idx="42">
                  <c:v>46</c:v>
                </c:pt>
                <c:pt idx="43">
                  <c:v>47</c:v>
                </c:pt>
                <c:pt idx="44">
                  <c:v>48</c:v>
                </c:pt>
                <c:pt idx="45">
                  <c:v>49</c:v>
                </c:pt>
                <c:pt idx="46">
                  <c:v>50</c:v>
                </c:pt>
                <c:pt idx="47">
                  <c:v>51</c:v>
                </c:pt>
                <c:pt idx="48">
                  <c:v>52</c:v>
                </c:pt>
                <c:pt idx="49">
                  <c:v>53</c:v>
                </c:pt>
                <c:pt idx="50">
                  <c:v>54</c:v>
                </c:pt>
                <c:pt idx="51">
                  <c:v>55</c:v>
                </c:pt>
                <c:pt idx="52">
                  <c:v>56</c:v>
                </c:pt>
                <c:pt idx="53">
                  <c:v>57</c:v>
                </c:pt>
                <c:pt idx="54">
                  <c:v>58</c:v>
                </c:pt>
                <c:pt idx="55">
                  <c:v>59</c:v>
                </c:pt>
                <c:pt idx="56">
                  <c:v>60</c:v>
                </c:pt>
                <c:pt idx="57">
                  <c:v>61</c:v>
                </c:pt>
                <c:pt idx="58">
                  <c:v>62</c:v>
                </c:pt>
                <c:pt idx="59">
                  <c:v>63</c:v>
                </c:pt>
                <c:pt idx="60">
                  <c:v>64</c:v>
                </c:pt>
                <c:pt idx="61">
                  <c:v>65</c:v>
                </c:pt>
                <c:pt idx="62">
                  <c:v>66</c:v>
                </c:pt>
                <c:pt idx="63">
                  <c:v>67</c:v>
                </c:pt>
                <c:pt idx="64">
                  <c:v>68</c:v>
                </c:pt>
                <c:pt idx="65">
                  <c:v>69</c:v>
                </c:pt>
                <c:pt idx="66">
                  <c:v>70</c:v>
                </c:pt>
                <c:pt idx="67">
                  <c:v>71</c:v>
                </c:pt>
                <c:pt idx="68">
                  <c:v>72</c:v>
                </c:pt>
                <c:pt idx="69">
                  <c:v>73</c:v>
                </c:pt>
                <c:pt idx="70">
                  <c:v>74</c:v>
                </c:pt>
                <c:pt idx="71">
                  <c:v>75</c:v>
                </c:pt>
                <c:pt idx="72">
                  <c:v>76</c:v>
                </c:pt>
                <c:pt idx="73">
                  <c:v>77</c:v>
                </c:pt>
                <c:pt idx="74">
                  <c:v>78</c:v>
                </c:pt>
                <c:pt idx="75">
                  <c:v>79</c:v>
                </c:pt>
                <c:pt idx="76">
                  <c:v>80</c:v>
                </c:pt>
                <c:pt idx="77">
                  <c:v>81</c:v>
                </c:pt>
                <c:pt idx="78">
                  <c:v>82</c:v>
                </c:pt>
                <c:pt idx="79">
                  <c:v>83</c:v>
                </c:pt>
                <c:pt idx="80">
                  <c:v>84</c:v>
                </c:pt>
                <c:pt idx="81">
                  <c:v>85</c:v>
                </c:pt>
                <c:pt idx="82">
                  <c:v>86</c:v>
                </c:pt>
                <c:pt idx="83">
                  <c:v>87</c:v>
                </c:pt>
                <c:pt idx="84">
                  <c:v>88</c:v>
                </c:pt>
                <c:pt idx="85">
                  <c:v>89</c:v>
                </c:pt>
                <c:pt idx="86">
                  <c:v>90</c:v>
                </c:pt>
                <c:pt idx="87">
                  <c:v>91</c:v>
                </c:pt>
                <c:pt idx="88">
                  <c:v>92</c:v>
                </c:pt>
                <c:pt idx="89">
                  <c:v>93</c:v>
                </c:pt>
                <c:pt idx="90">
                  <c:v>94</c:v>
                </c:pt>
                <c:pt idx="91">
                  <c:v>95</c:v>
                </c:pt>
                <c:pt idx="92">
                  <c:v>96</c:v>
                </c:pt>
                <c:pt idx="93">
                  <c:v>97</c:v>
                </c:pt>
                <c:pt idx="94">
                  <c:v>98</c:v>
                </c:pt>
                <c:pt idx="95">
                  <c:v>99</c:v>
                </c:pt>
                <c:pt idx="96">
                  <c:v>100</c:v>
                </c:pt>
                <c:pt idx="97">
                  <c:v>101</c:v>
                </c:pt>
                <c:pt idx="98">
                  <c:v>102</c:v>
                </c:pt>
                <c:pt idx="99">
                  <c:v>103</c:v>
                </c:pt>
                <c:pt idx="100">
                  <c:v>104</c:v>
                </c:pt>
                <c:pt idx="101">
                  <c:v>107</c:v>
                </c:pt>
                <c:pt idx="102">
                  <c:v>117</c:v>
                </c:pt>
              </c:numCache>
            </c:numRef>
          </c:cat>
          <c:val>
            <c:numRef>
              <c:f>List1!$B$2:$B$104</c:f>
              <c:numCache>
                <c:formatCode>General</c:formatCode>
                <c:ptCount val="103"/>
                <c:pt idx="0">
                  <c:v>2</c:v>
                </c:pt>
                <c:pt idx="1">
                  <c:v>2</c:v>
                </c:pt>
                <c:pt idx="2">
                  <c:v>4</c:v>
                </c:pt>
                <c:pt idx="3">
                  <c:v>4</c:v>
                </c:pt>
                <c:pt idx="4">
                  <c:v>8</c:v>
                </c:pt>
                <c:pt idx="5">
                  <c:v>10</c:v>
                </c:pt>
                <c:pt idx="6">
                  <c:v>5</c:v>
                </c:pt>
                <c:pt idx="7">
                  <c:v>17</c:v>
                </c:pt>
                <c:pt idx="8">
                  <c:v>17</c:v>
                </c:pt>
                <c:pt idx="9">
                  <c:v>20</c:v>
                </c:pt>
                <c:pt idx="10">
                  <c:v>20</c:v>
                </c:pt>
                <c:pt idx="11">
                  <c:v>14</c:v>
                </c:pt>
                <c:pt idx="12">
                  <c:v>32</c:v>
                </c:pt>
                <c:pt idx="13">
                  <c:v>21</c:v>
                </c:pt>
                <c:pt idx="14">
                  <c:v>29</c:v>
                </c:pt>
                <c:pt idx="15">
                  <c:v>26</c:v>
                </c:pt>
                <c:pt idx="16">
                  <c:v>38</c:v>
                </c:pt>
                <c:pt idx="17">
                  <c:v>32</c:v>
                </c:pt>
                <c:pt idx="18">
                  <c:v>27</c:v>
                </c:pt>
                <c:pt idx="19">
                  <c:v>40</c:v>
                </c:pt>
                <c:pt idx="20">
                  <c:v>52</c:v>
                </c:pt>
                <c:pt idx="21">
                  <c:v>60</c:v>
                </c:pt>
                <c:pt idx="22">
                  <c:v>68</c:v>
                </c:pt>
                <c:pt idx="23">
                  <c:v>64</c:v>
                </c:pt>
                <c:pt idx="24">
                  <c:v>85</c:v>
                </c:pt>
                <c:pt idx="25">
                  <c:v>75</c:v>
                </c:pt>
                <c:pt idx="26">
                  <c:v>81</c:v>
                </c:pt>
                <c:pt idx="27">
                  <c:v>84</c:v>
                </c:pt>
                <c:pt idx="28">
                  <c:v>88</c:v>
                </c:pt>
                <c:pt idx="29">
                  <c:v>89</c:v>
                </c:pt>
                <c:pt idx="30">
                  <c:v>105</c:v>
                </c:pt>
                <c:pt idx="31">
                  <c:v>98</c:v>
                </c:pt>
                <c:pt idx="32">
                  <c:v>87</c:v>
                </c:pt>
                <c:pt idx="33">
                  <c:v>101</c:v>
                </c:pt>
                <c:pt idx="34">
                  <c:v>133</c:v>
                </c:pt>
                <c:pt idx="35">
                  <c:v>108</c:v>
                </c:pt>
                <c:pt idx="36">
                  <c:v>138</c:v>
                </c:pt>
                <c:pt idx="37">
                  <c:v>152</c:v>
                </c:pt>
                <c:pt idx="38">
                  <c:v>138</c:v>
                </c:pt>
                <c:pt idx="39">
                  <c:v>144</c:v>
                </c:pt>
                <c:pt idx="40">
                  <c:v>164</c:v>
                </c:pt>
                <c:pt idx="41">
                  <c:v>158</c:v>
                </c:pt>
                <c:pt idx="42">
                  <c:v>163</c:v>
                </c:pt>
                <c:pt idx="43">
                  <c:v>164</c:v>
                </c:pt>
                <c:pt idx="44">
                  <c:v>143</c:v>
                </c:pt>
                <c:pt idx="45">
                  <c:v>146</c:v>
                </c:pt>
                <c:pt idx="46">
                  <c:v>159</c:v>
                </c:pt>
                <c:pt idx="47">
                  <c:v>173</c:v>
                </c:pt>
                <c:pt idx="48">
                  <c:v>142</c:v>
                </c:pt>
                <c:pt idx="49">
                  <c:v>161</c:v>
                </c:pt>
                <c:pt idx="50">
                  <c:v>172</c:v>
                </c:pt>
                <c:pt idx="51">
                  <c:v>196</c:v>
                </c:pt>
                <c:pt idx="52">
                  <c:v>187</c:v>
                </c:pt>
                <c:pt idx="53">
                  <c:v>187</c:v>
                </c:pt>
                <c:pt idx="54">
                  <c:v>161</c:v>
                </c:pt>
                <c:pt idx="55">
                  <c:v>199</c:v>
                </c:pt>
                <c:pt idx="56">
                  <c:v>231</c:v>
                </c:pt>
                <c:pt idx="57">
                  <c:v>228</c:v>
                </c:pt>
                <c:pt idx="58">
                  <c:v>251</c:v>
                </c:pt>
                <c:pt idx="59">
                  <c:v>284</c:v>
                </c:pt>
                <c:pt idx="60">
                  <c:v>341</c:v>
                </c:pt>
                <c:pt idx="61">
                  <c:v>317</c:v>
                </c:pt>
                <c:pt idx="62">
                  <c:v>348</c:v>
                </c:pt>
                <c:pt idx="63">
                  <c:v>361</c:v>
                </c:pt>
                <c:pt idx="64">
                  <c:v>382</c:v>
                </c:pt>
                <c:pt idx="65">
                  <c:v>469</c:v>
                </c:pt>
                <c:pt idx="66">
                  <c:v>490</c:v>
                </c:pt>
                <c:pt idx="67">
                  <c:v>505</c:v>
                </c:pt>
                <c:pt idx="68">
                  <c:v>593</c:v>
                </c:pt>
                <c:pt idx="69">
                  <c:v>635</c:v>
                </c:pt>
                <c:pt idx="70">
                  <c:v>670</c:v>
                </c:pt>
                <c:pt idx="71">
                  <c:v>641</c:v>
                </c:pt>
                <c:pt idx="72">
                  <c:v>779</c:v>
                </c:pt>
                <c:pt idx="73">
                  <c:v>813</c:v>
                </c:pt>
                <c:pt idx="74">
                  <c:v>826</c:v>
                </c:pt>
                <c:pt idx="75">
                  <c:v>893</c:v>
                </c:pt>
                <c:pt idx="76">
                  <c:v>982</c:v>
                </c:pt>
                <c:pt idx="77">
                  <c:v>982</c:v>
                </c:pt>
                <c:pt idx="78">
                  <c:v>985</c:v>
                </c:pt>
                <c:pt idx="79">
                  <c:v>1108</c:v>
                </c:pt>
                <c:pt idx="80">
                  <c:v>1081</c:v>
                </c:pt>
                <c:pt idx="81">
                  <c:v>1220</c:v>
                </c:pt>
                <c:pt idx="82">
                  <c:v>1288</c:v>
                </c:pt>
                <c:pt idx="83">
                  <c:v>1310</c:v>
                </c:pt>
                <c:pt idx="84">
                  <c:v>1365</c:v>
                </c:pt>
                <c:pt idx="85">
                  <c:v>1307</c:v>
                </c:pt>
                <c:pt idx="86">
                  <c:v>1292</c:v>
                </c:pt>
                <c:pt idx="87">
                  <c:v>1097</c:v>
                </c:pt>
                <c:pt idx="88">
                  <c:v>963</c:v>
                </c:pt>
                <c:pt idx="89">
                  <c:v>786</c:v>
                </c:pt>
                <c:pt idx="90">
                  <c:v>563</c:v>
                </c:pt>
                <c:pt idx="91">
                  <c:v>438</c:v>
                </c:pt>
                <c:pt idx="92">
                  <c:v>328</c:v>
                </c:pt>
                <c:pt idx="93">
                  <c:v>242</c:v>
                </c:pt>
                <c:pt idx="94">
                  <c:v>157</c:v>
                </c:pt>
                <c:pt idx="95">
                  <c:v>103</c:v>
                </c:pt>
                <c:pt idx="96">
                  <c:v>46</c:v>
                </c:pt>
                <c:pt idx="97">
                  <c:v>28</c:v>
                </c:pt>
                <c:pt idx="98">
                  <c:v>7</c:v>
                </c:pt>
                <c:pt idx="99">
                  <c:v>5</c:v>
                </c:pt>
                <c:pt idx="100">
                  <c:v>3</c:v>
                </c:pt>
                <c:pt idx="101">
                  <c:v>2</c:v>
                </c:pt>
                <c:pt idx="10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8F-4290-AA04-A5FA33476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095798771781857E-2"/>
          <c:y val="2.8705141534522347E-2"/>
          <c:w val="0.91847729224387953"/>
          <c:h val="0.825277630035093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65</c:f>
              <c:numCache>
                <c:formatCode>m/d/yyyy</c:formatCode>
                <c:ptCount val="56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</c:numCache>
            </c:numRef>
          </c:cat>
          <c:val>
            <c:numRef>
              <c:f>Sheet1!$B$2:$B$565</c:f>
              <c:numCache>
                <c:formatCode>#\ ##0_ ;\-#\ ##0\ </c:formatCode>
                <c:ptCount val="564"/>
                <c:pt idx="0">
                  <c:v>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0</c:v>
                </c:pt>
                <c:pt idx="11">
                  <c:v>4</c:v>
                </c:pt>
                <c:pt idx="12">
                  <c:v>1</c:v>
                </c:pt>
                <c:pt idx="13">
                  <c:v>9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3</c:v>
                </c:pt>
                <c:pt idx="24">
                  <c:v>1</c:v>
                </c:pt>
                <c:pt idx="25">
                  <c:v>5</c:v>
                </c:pt>
                <c:pt idx="26">
                  <c:v>7</c:v>
                </c:pt>
                <c:pt idx="27">
                  <c:v>3</c:v>
                </c:pt>
                <c:pt idx="28">
                  <c:v>5</c:v>
                </c:pt>
                <c:pt idx="29">
                  <c:v>28</c:v>
                </c:pt>
                <c:pt idx="30">
                  <c:v>31</c:v>
                </c:pt>
                <c:pt idx="31">
                  <c:v>63</c:v>
                </c:pt>
                <c:pt idx="32">
                  <c:v>36</c:v>
                </c:pt>
                <c:pt idx="33">
                  <c:v>56</c:v>
                </c:pt>
                <c:pt idx="34">
                  <c:v>167</c:v>
                </c:pt>
                <c:pt idx="35">
                  <c:v>83</c:v>
                </c:pt>
                <c:pt idx="36">
                  <c:v>45</c:v>
                </c:pt>
                <c:pt idx="37">
                  <c:v>79</c:v>
                </c:pt>
                <c:pt idx="38">
                  <c:v>139</c:v>
                </c:pt>
                <c:pt idx="39">
                  <c:v>30</c:v>
                </c:pt>
                <c:pt idx="40">
                  <c:v>13</c:v>
                </c:pt>
                <c:pt idx="41">
                  <c:v>139</c:v>
                </c:pt>
                <c:pt idx="42">
                  <c:v>225</c:v>
                </c:pt>
                <c:pt idx="43">
                  <c:v>182</c:v>
                </c:pt>
                <c:pt idx="44">
                  <c:v>200</c:v>
                </c:pt>
                <c:pt idx="45">
                  <c:v>206</c:v>
                </c:pt>
                <c:pt idx="46">
                  <c:v>157</c:v>
                </c:pt>
                <c:pt idx="47">
                  <c:v>41</c:v>
                </c:pt>
                <c:pt idx="48">
                  <c:v>246</c:v>
                </c:pt>
                <c:pt idx="49">
                  <c:v>203</c:v>
                </c:pt>
                <c:pt idx="50">
                  <c:v>327</c:v>
                </c:pt>
                <c:pt idx="51">
                  <c:v>238</c:v>
                </c:pt>
                <c:pt idx="52">
                  <c:v>424</c:v>
                </c:pt>
                <c:pt idx="53">
                  <c:v>231</c:v>
                </c:pt>
                <c:pt idx="54">
                  <c:v>198</c:v>
                </c:pt>
                <c:pt idx="55">
                  <c:v>391</c:v>
                </c:pt>
                <c:pt idx="56">
                  <c:v>536</c:v>
                </c:pt>
                <c:pt idx="57">
                  <c:v>266</c:v>
                </c:pt>
                <c:pt idx="58">
                  <c:v>547</c:v>
                </c:pt>
                <c:pt idx="59">
                  <c:v>589</c:v>
                </c:pt>
                <c:pt idx="60">
                  <c:v>339</c:v>
                </c:pt>
                <c:pt idx="61">
                  <c:v>216</c:v>
                </c:pt>
                <c:pt idx="62">
                  <c:v>337</c:v>
                </c:pt>
                <c:pt idx="63">
                  <c:v>350</c:v>
                </c:pt>
                <c:pt idx="64">
                  <c:v>427</c:v>
                </c:pt>
                <c:pt idx="65">
                  <c:v>542</c:v>
                </c:pt>
                <c:pt idx="66">
                  <c:v>499</c:v>
                </c:pt>
                <c:pt idx="67">
                  <c:v>216</c:v>
                </c:pt>
                <c:pt idx="68">
                  <c:v>83</c:v>
                </c:pt>
                <c:pt idx="69">
                  <c:v>209</c:v>
                </c:pt>
                <c:pt idx="70">
                  <c:v>387</c:v>
                </c:pt>
                <c:pt idx="71">
                  <c:v>683</c:v>
                </c:pt>
                <c:pt idx="72">
                  <c:v>506</c:v>
                </c:pt>
                <c:pt idx="73">
                  <c:v>486</c:v>
                </c:pt>
                <c:pt idx="74">
                  <c:v>186</c:v>
                </c:pt>
                <c:pt idx="75">
                  <c:v>170</c:v>
                </c:pt>
                <c:pt idx="76">
                  <c:v>392</c:v>
                </c:pt>
                <c:pt idx="77">
                  <c:v>139</c:v>
                </c:pt>
                <c:pt idx="78">
                  <c:v>273</c:v>
                </c:pt>
                <c:pt idx="79">
                  <c:v>275</c:v>
                </c:pt>
                <c:pt idx="80">
                  <c:v>245</c:v>
                </c:pt>
                <c:pt idx="81">
                  <c:v>96</c:v>
                </c:pt>
                <c:pt idx="82">
                  <c:v>93</c:v>
                </c:pt>
                <c:pt idx="83">
                  <c:v>385</c:v>
                </c:pt>
                <c:pt idx="84">
                  <c:v>201</c:v>
                </c:pt>
                <c:pt idx="85">
                  <c:v>131</c:v>
                </c:pt>
                <c:pt idx="86">
                  <c:v>199</c:v>
                </c:pt>
                <c:pt idx="87">
                  <c:v>140</c:v>
                </c:pt>
                <c:pt idx="88">
                  <c:v>79</c:v>
                </c:pt>
                <c:pt idx="89">
                  <c:v>29</c:v>
                </c:pt>
                <c:pt idx="90">
                  <c:v>214</c:v>
                </c:pt>
                <c:pt idx="91">
                  <c:v>126</c:v>
                </c:pt>
                <c:pt idx="92">
                  <c:v>136</c:v>
                </c:pt>
                <c:pt idx="93">
                  <c:v>132</c:v>
                </c:pt>
                <c:pt idx="94">
                  <c:v>150</c:v>
                </c:pt>
                <c:pt idx="95">
                  <c:v>90</c:v>
                </c:pt>
                <c:pt idx="96">
                  <c:v>23</c:v>
                </c:pt>
                <c:pt idx="97">
                  <c:v>144</c:v>
                </c:pt>
                <c:pt idx="98">
                  <c:v>92</c:v>
                </c:pt>
                <c:pt idx="99">
                  <c:v>141</c:v>
                </c:pt>
                <c:pt idx="100">
                  <c:v>85</c:v>
                </c:pt>
                <c:pt idx="101">
                  <c:v>240</c:v>
                </c:pt>
                <c:pt idx="102">
                  <c:v>67</c:v>
                </c:pt>
                <c:pt idx="103">
                  <c:v>51</c:v>
                </c:pt>
                <c:pt idx="104">
                  <c:v>150</c:v>
                </c:pt>
                <c:pt idx="105">
                  <c:v>134</c:v>
                </c:pt>
                <c:pt idx="106">
                  <c:v>100</c:v>
                </c:pt>
                <c:pt idx="107">
                  <c:v>70</c:v>
                </c:pt>
                <c:pt idx="108">
                  <c:v>224</c:v>
                </c:pt>
                <c:pt idx="109">
                  <c:v>61</c:v>
                </c:pt>
                <c:pt idx="110">
                  <c:v>22</c:v>
                </c:pt>
                <c:pt idx="111">
                  <c:v>180</c:v>
                </c:pt>
                <c:pt idx="112">
                  <c:v>178</c:v>
                </c:pt>
                <c:pt idx="113">
                  <c:v>124</c:v>
                </c:pt>
                <c:pt idx="114">
                  <c:v>19</c:v>
                </c:pt>
                <c:pt idx="115">
                  <c:v>73</c:v>
                </c:pt>
                <c:pt idx="116">
                  <c:v>79</c:v>
                </c:pt>
                <c:pt idx="117">
                  <c:v>98</c:v>
                </c:pt>
                <c:pt idx="118">
                  <c:v>166</c:v>
                </c:pt>
                <c:pt idx="119">
                  <c:v>185</c:v>
                </c:pt>
                <c:pt idx="120">
                  <c:v>148</c:v>
                </c:pt>
                <c:pt idx="121">
                  <c:v>136</c:v>
                </c:pt>
                <c:pt idx="122">
                  <c:v>67</c:v>
                </c:pt>
                <c:pt idx="123">
                  <c:v>62</c:v>
                </c:pt>
                <c:pt idx="124">
                  <c:v>43</c:v>
                </c:pt>
                <c:pt idx="125">
                  <c:v>271</c:v>
                </c:pt>
                <c:pt idx="126">
                  <c:v>156</c:v>
                </c:pt>
                <c:pt idx="127">
                  <c:v>163</c:v>
                </c:pt>
                <c:pt idx="128">
                  <c:v>235</c:v>
                </c:pt>
                <c:pt idx="129">
                  <c:v>190</c:v>
                </c:pt>
                <c:pt idx="130">
                  <c:v>66</c:v>
                </c:pt>
                <c:pt idx="131">
                  <c:v>37</c:v>
                </c:pt>
                <c:pt idx="132">
                  <c:v>245</c:v>
                </c:pt>
                <c:pt idx="133">
                  <c:v>130</c:v>
                </c:pt>
                <c:pt idx="134">
                  <c:v>175</c:v>
                </c:pt>
                <c:pt idx="135">
                  <c:v>99</c:v>
                </c:pt>
                <c:pt idx="136">
                  <c:v>92</c:v>
                </c:pt>
                <c:pt idx="137">
                  <c:v>36</c:v>
                </c:pt>
                <c:pt idx="138">
                  <c:v>48</c:v>
                </c:pt>
                <c:pt idx="139">
                  <c:v>167</c:v>
                </c:pt>
                <c:pt idx="140">
                  <c:v>84</c:v>
                </c:pt>
                <c:pt idx="141">
                  <c:v>147</c:v>
                </c:pt>
                <c:pt idx="142">
                  <c:v>108</c:v>
                </c:pt>
                <c:pt idx="143">
                  <c:v>119</c:v>
                </c:pt>
                <c:pt idx="144">
                  <c:v>54</c:v>
                </c:pt>
                <c:pt idx="145">
                  <c:v>26</c:v>
                </c:pt>
                <c:pt idx="146">
                  <c:v>88</c:v>
                </c:pt>
                <c:pt idx="147">
                  <c:v>43</c:v>
                </c:pt>
                <c:pt idx="148">
                  <c:v>96</c:v>
                </c:pt>
                <c:pt idx="149">
                  <c:v>68</c:v>
                </c:pt>
                <c:pt idx="150">
                  <c:v>38</c:v>
                </c:pt>
                <c:pt idx="151">
                  <c:v>49</c:v>
                </c:pt>
                <c:pt idx="152">
                  <c:v>10</c:v>
                </c:pt>
                <c:pt idx="153">
                  <c:v>108</c:v>
                </c:pt>
                <c:pt idx="154">
                  <c:v>98</c:v>
                </c:pt>
                <c:pt idx="155">
                  <c:v>103</c:v>
                </c:pt>
                <c:pt idx="156">
                  <c:v>86</c:v>
                </c:pt>
                <c:pt idx="157">
                  <c:v>86</c:v>
                </c:pt>
                <c:pt idx="158">
                  <c:v>44</c:v>
                </c:pt>
                <c:pt idx="159">
                  <c:v>16</c:v>
                </c:pt>
                <c:pt idx="160">
                  <c:v>66</c:v>
                </c:pt>
                <c:pt idx="161">
                  <c:v>66</c:v>
                </c:pt>
                <c:pt idx="162">
                  <c:v>68</c:v>
                </c:pt>
                <c:pt idx="163">
                  <c:v>70</c:v>
                </c:pt>
                <c:pt idx="164">
                  <c:v>52</c:v>
                </c:pt>
                <c:pt idx="165">
                  <c:v>9</c:v>
                </c:pt>
                <c:pt idx="166">
                  <c:v>14</c:v>
                </c:pt>
                <c:pt idx="167">
                  <c:v>37</c:v>
                </c:pt>
                <c:pt idx="168">
                  <c:v>19</c:v>
                </c:pt>
                <c:pt idx="169">
                  <c:v>30</c:v>
                </c:pt>
                <c:pt idx="170">
                  <c:v>31</c:v>
                </c:pt>
                <c:pt idx="171">
                  <c:v>28</c:v>
                </c:pt>
                <c:pt idx="172">
                  <c:v>19</c:v>
                </c:pt>
                <c:pt idx="173">
                  <c:v>8</c:v>
                </c:pt>
                <c:pt idx="174">
                  <c:v>92</c:v>
                </c:pt>
                <c:pt idx="175">
                  <c:v>37</c:v>
                </c:pt>
                <c:pt idx="176">
                  <c:v>36</c:v>
                </c:pt>
                <c:pt idx="177">
                  <c:v>46</c:v>
                </c:pt>
                <c:pt idx="178">
                  <c:v>49</c:v>
                </c:pt>
                <c:pt idx="179">
                  <c:v>11</c:v>
                </c:pt>
                <c:pt idx="180">
                  <c:v>3</c:v>
                </c:pt>
                <c:pt idx="181">
                  <c:v>79</c:v>
                </c:pt>
                <c:pt idx="182">
                  <c:v>29</c:v>
                </c:pt>
                <c:pt idx="183">
                  <c:v>44</c:v>
                </c:pt>
                <c:pt idx="184">
                  <c:v>11</c:v>
                </c:pt>
                <c:pt idx="185">
                  <c:v>24</c:v>
                </c:pt>
                <c:pt idx="186">
                  <c:v>5</c:v>
                </c:pt>
                <c:pt idx="187">
                  <c:v>6</c:v>
                </c:pt>
                <c:pt idx="188">
                  <c:v>28</c:v>
                </c:pt>
                <c:pt idx="189">
                  <c:v>115</c:v>
                </c:pt>
                <c:pt idx="190">
                  <c:v>68</c:v>
                </c:pt>
                <c:pt idx="191">
                  <c:v>15</c:v>
                </c:pt>
                <c:pt idx="192">
                  <c:v>34</c:v>
                </c:pt>
                <c:pt idx="193">
                  <c:v>9</c:v>
                </c:pt>
                <c:pt idx="194">
                  <c:v>7</c:v>
                </c:pt>
                <c:pt idx="195">
                  <c:v>31</c:v>
                </c:pt>
                <c:pt idx="196">
                  <c:v>22</c:v>
                </c:pt>
                <c:pt idx="197">
                  <c:v>12</c:v>
                </c:pt>
                <c:pt idx="198">
                  <c:v>37</c:v>
                </c:pt>
                <c:pt idx="199">
                  <c:v>18</c:v>
                </c:pt>
                <c:pt idx="200">
                  <c:v>10</c:v>
                </c:pt>
                <c:pt idx="201">
                  <c:v>4</c:v>
                </c:pt>
                <c:pt idx="202">
                  <c:v>13</c:v>
                </c:pt>
                <c:pt idx="203">
                  <c:v>31</c:v>
                </c:pt>
                <c:pt idx="204">
                  <c:v>22</c:v>
                </c:pt>
                <c:pt idx="205">
                  <c:v>32</c:v>
                </c:pt>
                <c:pt idx="206">
                  <c:v>7</c:v>
                </c:pt>
                <c:pt idx="207">
                  <c:v>3</c:v>
                </c:pt>
                <c:pt idx="208">
                  <c:v>4</c:v>
                </c:pt>
                <c:pt idx="209">
                  <c:v>22</c:v>
                </c:pt>
                <c:pt idx="210">
                  <c:v>13</c:v>
                </c:pt>
                <c:pt idx="211">
                  <c:v>11</c:v>
                </c:pt>
                <c:pt idx="212">
                  <c:v>11</c:v>
                </c:pt>
                <c:pt idx="213">
                  <c:v>4</c:v>
                </c:pt>
                <c:pt idx="214">
                  <c:v>4</c:v>
                </c:pt>
                <c:pt idx="215">
                  <c:v>2</c:v>
                </c:pt>
                <c:pt idx="216">
                  <c:v>1</c:v>
                </c:pt>
                <c:pt idx="217">
                  <c:v>5</c:v>
                </c:pt>
                <c:pt idx="218">
                  <c:v>19</c:v>
                </c:pt>
                <c:pt idx="219">
                  <c:v>2</c:v>
                </c:pt>
                <c:pt idx="220">
                  <c:v>3</c:v>
                </c:pt>
                <c:pt idx="221">
                  <c:v>1</c:v>
                </c:pt>
                <c:pt idx="222">
                  <c:v>0</c:v>
                </c:pt>
                <c:pt idx="223">
                  <c:v>2</c:v>
                </c:pt>
                <c:pt idx="224">
                  <c:v>3</c:v>
                </c:pt>
                <c:pt idx="225">
                  <c:v>4</c:v>
                </c:pt>
                <c:pt idx="226">
                  <c:v>4</c:v>
                </c:pt>
                <c:pt idx="227">
                  <c:v>1</c:v>
                </c:pt>
                <c:pt idx="228">
                  <c:v>1</c:v>
                </c:pt>
                <c:pt idx="229">
                  <c:v>2</c:v>
                </c:pt>
                <c:pt idx="230">
                  <c:v>7</c:v>
                </c:pt>
                <c:pt idx="231">
                  <c:v>5</c:v>
                </c:pt>
                <c:pt idx="232">
                  <c:v>3</c:v>
                </c:pt>
                <c:pt idx="233">
                  <c:v>19</c:v>
                </c:pt>
                <c:pt idx="234">
                  <c:v>8</c:v>
                </c:pt>
                <c:pt idx="235">
                  <c:v>1</c:v>
                </c:pt>
                <c:pt idx="236">
                  <c:v>0</c:v>
                </c:pt>
                <c:pt idx="237">
                  <c:v>2</c:v>
                </c:pt>
                <c:pt idx="238">
                  <c:v>4</c:v>
                </c:pt>
                <c:pt idx="239">
                  <c:v>1</c:v>
                </c:pt>
                <c:pt idx="240">
                  <c:v>2</c:v>
                </c:pt>
                <c:pt idx="241">
                  <c:v>1</c:v>
                </c:pt>
                <c:pt idx="242">
                  <c:v>0</c:v>
                </c:pt>
                <c:pt idx="243">
                  <c:v>0</c:v>
                </c:pt>
                <c:pt idx="244">
                  <c:v>2</c:v>
                </c:pt>
                <c:pt idx="245">
                  <c:v>0</c:v>
                </c:pt>
                <c:pt idx="246">
                  <c:v>3</c:v>
                </c:pt>
                <c:pt idx="247">
                  <c:v>1</c:v>
                </c:pt>
                <c:pt idx="248">
                  <c:v>2</c:v>
                </c:pt>
                <c:pt idx="249">
                  <c:v>0</c:v>
                </c:pt>
                <c:pt idx="250">
                  <c:v>3</c:v>
                </c:pt>
                <c:pt idx="251">
                  <c:v>5</c:v>
                </c:pt>
                <c:pt idx="252">
                  <c:v>2</c:v>
                </c:pt>
                <c:pt idx="253">
                  <c:v>0</c:v>
                </c:pt>
                <c:pt idx="254">
                  <c:v>3</c:v>
                </c:pt>
                <c:pt idx="255">
                  <c:v>5</c:v>
                </c:pt>
                <c:pt idx="256">
                  <c:v>1</c:v>
                </c:pt>
                <c:pt idx="257">
                  <c:v>0</c:v>
                </c:pt>
                <c:pt idx="258">
                  <c:v>3</c:v>
                </c:pt>
                <c:pt idx="259">
                  <c:v>0</c:v>
                </c:pt>
                <c:pt idx="260">
                  <c:v>2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1</c:v>
                </c:pt>
                <c:pt idx="273">
                  <c:v>0</c:v>
                </c:pt>
                <c:pt idx="274">
                  <c:v>3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1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1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1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1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2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1</c:v>
                </c:pt>
                <c:pt idx="366">
                  <c:v>4</c:v>
                </c:pt>
                <c:pt idx="367">
                  <c:v>2</c:v>
                </c:pt>
                <c:pt idx="368">
                  <c:v>1</c:v>
                </c:pt>
                <c:pt idx="369">
                  <c:v>0</c:v>
                </c:pt>
                <c:pt idx="370">
                  <c:v>4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4</c:v>
                </c:pt>
                <c:pt idx="386">
                  <c:v>1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2</c:v>
                </c:pt>
                <c:pt idx="392">
                  <c:v>0</c:v>
                </c:pt>
                <c:pt idx="393">
                  <c:v>1</c:v>
                </c:pt>
                <c:pt idx="394">
                  <c:v>0</c:v>
                </c:pt>
                <c:pt idx="395">
                  <c:v>0</c:v>
                </c:pt>
                <c:pt idx="396">
                  <c:v>1</c:v>
                </c:pt>
                <c:pt idx="397">
                  <c:v>1</c:v>
                </c:pt>
                <c:pt idx="398">
                  <c:v>2</c:v>
                </c:pt>
                <c:pt idx="399">
                  <c:v>2</c:v>
                </c:pt>
                <c:pt idx="400">
                  <c:v>8</c:v>
                </c:pt>
                <c:pt idx="401">
                  <c:v>2</c:v>
                </c:pt>
                <c:pt idx="402">
                  <c:v>25</c:v>
                </c:pt>
                <c:pt idx="403">
                  <c:v>1</c:v>
                </c:pt>
                <c:pt idx="404">
                  <c:v>0</c:v>
                </c:pt>
                <c:pt idx="405">
                  <c:v>1</c:v>
                </c:pt>
                <c:pt idx="406">
                  <c:v>1</c:v>
                </c:pt>
                <c:pt idx="407">
                  <c:v>20</c:v>
                </c:pt>
                <c:pt idx="408">
                  <c:v>3</c:v>
                </c:pt>
                <c:pt idx="409">
                  <c:v>2</c:v>
                </c:pt>
                <c:pt idx="410">
                  <c:v>0</c:v>
                </c:pt>
                <c:pt idx="411">
                  <c:v>0</c:v>
                </c:pt>
                <c:pt idx="412">
                  <c:v>6</c:v>
                </c:pt>
                <c:pt idx="413">
                  <c:v>5</c:v>
                </c:pt>
                <c:pt idx="414">
                  <c:v>4</c:v>
                </c:pt>
                <c:pt idx="415">
                  <c:v>2</c:v>
                </c:pt>
                <c:pt idx="416">
                  <c:v>5</c:v>
                </c:pt>
                <c:pt idx="417">
                  <c:v>1</c:v>
                </c:pt>
                <c:pt idx="418">
                  <c:v>1</c:v>
                </c:pt>
                <c:pt idx="419">
                  <c:v>14</c:v>
                </c:pt>
                <c:pt idx="420">
                  <c:v>9</c:v>
                </c:pt>
                <c:pt idx="421">
                  <c:v>11</c:v>
                </c:pt>
                <c:pt idx="422">
                  <c:v>0</c:v>
                </c:pt>
                <c:pt idx="423">
                  <c:v>18</c:v>
                </c:pt>
                <c:pt idx="424">
                  <c:v>7</c:v>
                </c:pt>
                <c:pt idx="425">
                  <c:v>11</c:v>
                </c:pt>
                <c:pt idx="426">
                  <c:v>35</c:v>
                </c:pt>
                <c:pt idx="427">
                  <c:v>15</c:v>
                </c:pt>
                <c:pt idx="428">
                  <c:v>16</c:v>
                </c:pt>
                <c:pt idx="429">
                  <c:v>53</c:v>
                </c:pt>
                <c:pt idx="430">
                  <c:v>23</c:v>
                </c:pt>
                <c:pt idx="431">
                  <c:v>6</c:v>
                </c:pt>
                <c:pt idx="432">
                  <c:v>5</c:v>
                </c:pt>
                <c:pt idx="433">
                  <c:v>30</c:v>
                </c:pt>
                <c:pt idx="434">
                  <c:v>30</c:v>
                </c:pt>
                <c:pt idx="435">
                  <c:v>16</c:v>
                </c:pt>
                <c:pt idx="436">
                  <c:v>19</c:v>
                </c:pt>
                <c:pt idx="437">
                  <c:v>17</c:v>
                </c:pt>
                <c:pt idx="438">
                  <c:v>13</c:v>
                </c:pt>
                <c:pt idx="439">
                  <c:v>15</c:v>
                </c:pt>
                <c:pt idx="440">
                  <c:v>43</c:v>
                </c:pt>
                <c:pt idx="441">
                  <c:v>32</c:v>
                </c:pt>
                <c:pt idx="442">
                  <c:v>25</c:v>
                </c:pt>
                <c:pt idx="443">
                  <c:v>56</c:v>
                </c:pt>
                <c:pt idx="444">
                  <c:v>85</c:v>
                </c:pt>
                <c:pt idx="445">
                  <c:v>26</c:v>
                </c:pt>
                <c:pt idx="446">
                  <c:v>9</c:v>
                </c:pt>
                <c:pt idx="447">
                  <c:v>50</c:v>
                </c:pt>
                <c:pt idx="448">
                  <c:v>24</c:v>
                </c:pt>
                <c:pt idx="449">
                  <c:v>42</c:v>
                </c:pt>
                <c:pt idx="450">
                  <c:v>29</c:v>
                </c:pt>
                <c:pt idx="451">
                  <c:v>53</c:v>
                </c:pt>
                <c:pt idx="452">
                  <c:v>5</c:v>
                </c:pt>
                <c:pt idx="453">
                  <c:v>7</c:v>
                </c:pt>
                <c:pt idx="454">
                  <c:v>44</c:v>
                </c:pt>
                <c:pt idx="455">
                  <c:v>15</c:v>
                </c:pt>
                <c:pt idx="456">
                  <c:v>31</c:v>
                </c:pt>
                <c:pt idx="457">
                  <c:v>31</c:v>
                </c:pt>
                <c:pt idx="458">
                  <c:v>14</c:v>
                </c:pt>
                <c:pt idx="459">
                  <c:v>38</c:v>
                </c:pt>
                <c:pt idx="460">
                  <c:v>7</c:v>
                </c:pt>
                <c:pt idx="461">
                  <c:v>31</c:v>
                </c:pt>
                <c:pt idx="462">
                  <c:v>22</c:v>
                </c:pt>
                <c:pt idx="463">
                  <c:v>18</c:v>
                </c:pt>
                <c:pt idx="464">
                  <c:v>31</c:v>
                </c:pt>
                <c:pt idx="465">
                  <c:v>30</c:v>
                </c:pt>
                <c:pt idx="466">
                  <c:v>6</c:v>
                </c:pt>
                <c:pt idx="467">
                  <c:v>1</c:v>
                </c:pt>
                <c:pt idx="468">
                  <c:v>18</c:v>
                </c:pt>
                <c:pt idx="469">
                  <c:v>27</c:v>
                </c:pt>
                <c:pt idx="470">
                  <c:v>17</c:v>
                </c:pt>
                <c:pt idx="471">
                  <c:v>8</c:v>
                </c:pt>
                <c:pt idx="472">
                  <c:v>12</c:v>
                </c:pt>
                <c:pt idx="473">
                  <c:v>2</c:v>
                </c:pt>
                <c:pt idx="474">
                  <c:v>3</c:v>
                </c:pt>
                <c:pt idx="475">
                  <c:v>16</c:v>
                </c:pt>
                <c:pt idx="476">
                  <c:v>8</c:v>
                </c:pt>
                <c:pt idx="477">
                  <c:v>3</c:v>
                </c:pt>
                <c:pt idx="478">
                  <c:v>5</c:v>
                </c:pt>
                <c:pt idx="479">
                  <c:v>1</c:v>
                </c:pt>
                <c:pt idx="480">
                  <c:v>5</c:v>
                </c:pt>
                <c:pt idx="481">
                  <c:v>0</c:v>
                </c:pt>
                <c:pt idx="482">
                  <c:v>10</c:v>
                </c:pt>
                <c:pt idx="483">
                  <c:v>7</c:v>
                </c:pt>
                <c:pt idx="484">
                  <c:v>6</c:v>
                </c:pt>
                <c:pt idx="485">
                  <c:v>2</c:v>
                </c:pt>
                <c:pt idx="486">
                  <c:v>10</c:v>
                </c:pt>
                <c:pt idx="487">
                  <c:v>3</c:v>
                </c:pt>
                <c:pt idx="488">
                  <c:v>0</c:v>
                </c:pt>
                <c:pt idx="489">
                  <c:v>4</c:v>
                </c:pt>
                <c:pt idx="490">
                  <c:v>6</c:v>
                </c:pt>
                <c:pt idx="491">
                  <c:v>7</c:v>
                </c:pt>
                <c:pt idx="492">
                  <c:v>7</c:v>
                </c:pt>
                <c:pt idx="493">
                  <c:v>6</c:v>
                </c:pt>
                <c:pt idx="494">
                  <c:v>1</c:v>
                </c:pt>
                <c:pt idx="495">
                  <c:v>2</c:v>
                </c:pt>
                <c:pt idx="496">
                  <c:v>1</c:v>
                </c:pt>
                <c:pt idx="497">
                  <c:v>8</c:v>
                </c:pt>
                <c:pt idx="498">
                  <c:v>4</c:v>
                </c:pt>
                <c:pt idx="499">
                  <c:v>3</c:v>
                </c:pt>
                <c:pt idx="500">
                  <c:v>8</c:v>
                </c:pt>
                <c:pt idx="501">
                  <c:v>1</c:v>
                </c:pt>
                <c:pt idx="502">
                  <c:v>4</c:v>
                </c:pt>
                <c:pt idx="503">
                  <c:v>21</c:v>
                </c:pt>
                <c:pt idx="504">
                  <c:v>13</c:v>
                </c:pt>
                <c:pt idx="505">
                  <c:v>11</c:v>
                </c:pt>
                <c:pt idx="506">
                  <c:v>22</c:v>
                </c:pt>
                <c:pt idx="507">
                  <c:v>16</c:v>
                </c:pt>
                <c:pt idx="508">
                  <c:v>32</c:v>
                </c:pt>
                <c:pt idx="509">
                  <c:v>6</c:v>
                </c:pt>
                <c:pt idx="510">
                  <c:v>45</c:v>
                </c:pt>
                <c:pt idx="511">
                  <c:v>38</c:v>
                </c:pt>
                <c:pt idx="512">
                  <c:v>39</c:v>
                </c:pt>
                <c:pt idx="513">
                  <c:v>25</c:v>
                </c:pt>
                <c:pt idx="514">
                  <c:v>47</c:v>
                </c:pt>
                <c:pt idx="515">
                  <c:v>4</c:v>
                </c:pt>
                <c:pt idx="516">
                  <c:v>6</c:v>
                </c:pt>
                <c:pt idx="517">
                  <c:v>42</c:v>
                </c:pt>
                <c:pt idx="518">
                  <c:v>53</c:v>
                </c:pt>
                <c:pt idx="519">
                  <c:v>33</c:v>
                </c:pt>
                <c:pt idx="520">
                  <c:v>21</c:v>
                </c:pt>
                <c:pt idx="521">
                  <c:v>57</c:v>
                </c:pt>
                <c:pt idx="522">
                  <c:v>20</c:v>
                </c:pt>
                <c:pt idx="523">
                  <c:v>15</c:v>
                </c:pt>
                <c:pt idx="524">
                  <c:v>89</c:v>
                </c:pt>
                <c:pt idx="525">
                  <c:v>51</c:v>
                </c:pt>
                <c:pt idx="526">
                  <c:v>29</c:v>
                </c:pt>
                <c:pt idx="527">
                  <c:v>40</c:v>
                </c:pt>
                <c:pt idx="528">
                  <c:v>65</c:v>
                </c:pt>
                <c:pt idx="529">
                  <c:v>20</c:v>
                </c:pt>
                <c:pt idx="530">
                  <c:v>16</c:v>
                </c:pt>
                <c:pt idx="531">
                  <c:v>62</c:v>
                </c:pt>
                <c:pt idx="532">
                  <c:v>54</c:v>
                </c:pt>
                <c:pt idx="533">
                  <c:v>50</c:v>
                </c:pt>
                <c:pt idx="534">
                  <c:v>81</c:v>
                </c:pt>
                <c:pt idx="535">
                  <c:v>38</c:v>
                </c:pt>
                <c:pt idx="536">
                  <c:v>8</c:v>
                </c:pt>
                <c:pt idx="537">
                  <c:v>13</c:v>
                </c:pt>
                <c:pt idx="538">
                  <c:v>38</c:v>
                </c:pt>
                <c:pt idx="539">
                  <c:v>62</c:v>
                </c:pt>
                <c:pt idx="540">
                  <c:v>47</c:v>
                </c:pt>
                <c:pt idx="541">
                  <c:v>22</c:v>
                </c:pt>
                <c:pt idx="542">
                  <c:v>40</c:v>
                </c:pt>
                <c:pt idx="543">
                  <c:v>10</c:v>
                </c:pt>
                <c:pt idx="544">
                  <c:v>5</c:v>
                </c:pt>
                <c:pt idx="545">
                  <c:v>41</c:v>
                </c:pt>
                <c:pt idx="546">
                  <c:v>24</c:v>
                </c:pt>
                <c:pt idx="547">
                  <c:v>33</c:v>
                </c:pt>
                <c:pt idx="548">
                  <c:v>15</c:v>
                </c:pt>
                <c:pt idx="549">
                  <c:v>18</c:v>
                </c:pt>
                <c:pt idx="550">
                  <c:v>10</c:v>
                </c:pt>
                <c:pt idx="551">
                  <c:v>7</c:v>
                </c:pt>
                <c:pt idx="552">
                  <c:v>31</c:v>
                </c:pt>
                <c:pt idx="553">
                  <c:v>53</c:v>
                </c:pt>
                <c:pt idx="554">
                  <c:v>22</c:v>
                </c:pt>
                <c:pt idx="555">
                  <c:v>23</c:v>
                </c:pt>
                <c:pt idx="556">
                  <c:v>21</c:v>
                </c:pt>
                <c:pt idx="557">
                  <c:v>3</c:v>
                </c:pt>
                <c:pt idx="558">
                  <c:v>3</c:v>
                </c:pt>
                <c:pt idx="559">
                  <c:v>15</c:v>
                </c:pt>
                <c:pt idx="560">
                  <c:v>30</c:v>
                </c:pt>
                <c:pt idx="561">
                  <c:v>18</c:v>
                </c:pt>
                <c:pt idx="562">
                  <c:v>14</c:v>
                </c:pt>
                <c:pt idx="563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čet nákaz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27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X$1</c:f>
              <c:strCache>
                <c:ptCount val="23"/>
                <c:pt idx="0">
                  <c:v>05/2020</c:v>
                </c:pt>
                <c:pt idx="1">
                  <c:v>06/2020</c:v>
                </c:pt>
                <c:pt idx="2">
                  <c:v>07/2020</c:v>
                </c:pt>
                <c:pt idx="3">
                  <c:v>08/2020</c:v>
                </c:pt>
                <c:pt idx="4">
                  <c:v>09/2020</c:v>
                </c:pt>
                <c:pt idx="5">
                  <c:v>10/2020</c:v>
                </c:pt>
                <c:pt idx="6">
                  <c:v>11/2020</c:v>
                </c:pt>
                <c:pt idx="7">
                  <c:v>12/2020</c:v>
                </c:pt>
                <c:pt idx="8">
                  <c:v>01/2021</c:v>
                </c:pt>
                <c:pt idx="9">
                  <c:v>02/2021</c:v>
                </c:pt>
                <c:pt idx="10">
                  <c:v>03/2021</c:v>
                </c:pt>
                <c:pt idx="11">
                  <c:v>04/2021</c:v>
                </c:pt>
                <c:pt idx="12">
                  <c:v>05/2021</c:v>
                </c:pt>
                <c:pt idx="13">
                  <c:v>06/2021</c:v>
                </c:pt>
                <c:pt idx="14">
                  <c:v>07/2021</c:v>
                </c:pt>
                <c:pt idx="15">
                  <c:v>08/2021</c:v>
                </c:pt>
                <c:pt idx="16">
                  <c:v>09/2021</c:v>
                </c:pt>
                <c:pt idx="17">
                  <c:v>10/2021</c:v>
                </c:pt>
                <c:pt idx="18">
                  <c:v>11/2021</c:v>
                </c:pt>
                <c:pt idx="19">
                  <c:v>12/2021</c:v>
                </c:pt>
                <c:pt idx="20">
                  <c:v>01/2022</c:v>
                </c:pt>
                <c:pt idx="21">
                  <c:v>02/2022</c:v>
                </c:pt>
                <c:pt idx="22">
                  <c:v>03/2022</c:v>
                </c:pt>
              </c:strCache>
            </c:strRef>
          </c:cat>
          <c:val>
            <c:numRef>
              <c:f>List1!$B$2:$X$2</c:f>
              <c:numCache>
                <c:formatCode>General</c:formatCode>
                <c:ptCount val="23"/>
                <c:pt idx="0">
                  <c:v>110</c:v>
                </c:pt>
                <c:pt idx="1">
                  <c:v>84</c:v>
                </c:pt>
                <c:pt idx="2">
                  <c:v>112</c:v>
                </c:pt>
                <c:pt idx="3">
                  <c:v>240</c:v>
                </c:pt>
                <c:pt idx="4">
                  <c:v>1126</c:v>
                </c:pt>
                <c:pt idx="5">
                  <c:v>9694</c:v>
                </c:pt>
                <c:pt idx="6">
                  <c:v>8383</c:v>
                </c:pt>
                <c:pt idx="7">
                  <c:v>4588</c:v>
                </c:pt>
                <c:pt idx="8">
                  <c:v>3340</c:v>
                </c:pt>
                <c:pt idx="9">
                  <c:v>1800</c:v>
                </c:pt>
                <c:pt idx="10">
                  <c:v>968</c:v>
                </c:pt>
                <c:pt idx="11">
                  <c:v>135</c:v>
                </c:pt>
                <c:pt idx="12">
                  <c:v>23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93</c:v>
                </c:pt>
                <c:pt idx="17">
                  <c:v>182</c:v>
                </c:pt>
                <c:pt idx="18">
                  <c:v>645</c:v>
                </c:pt>
                <c:pt idx="19">
                  <c:v>592</c:v>
                </c:pt>
                <c:pt idx="20">
                  <c:v>721</c:v>
                </c:pt>
                <c:pt idx="21">
                  <c:v>1858</c:v>
                </c:pt>
                <c:pt idx="22">
                  <c:v>3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23-4197-8781-6EB6A238F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personal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65</c:f>
              <c:numCache>
                <c:formatCode>m/d/yyyy</c:formatCode>
                <c:ptCount val="56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</c:numCache>
            </c:numRef>
          </c:cat>
          <c:val>
            <c:numRef>
              <c:f>Sheet1!$B$2:$B$565</c:f>
              <c:numCache>
                <c:formatCode>#\ ##0_ ;\-#\ ##0\ </c:formatCode>
                <c:ptCount val="564"/>
                <c:pt idx="0">
                  <c:v>3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4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4</c:v>
                </c:pt>
                <c:pt idx="20">
                  <c:v>6</c:v>
                </c:pt>
                <c:pt idx="21">
                  <c:v>7</c:v>
                </c:pt>
                <c:pt idx="22">
                  <c:v>1</c:v>
                </c:pt>
                <c:pt idx="23">
                  <c:v>4</c:v>
                </c:pt>
                <c:pt idx="24">
                  <c:v>12</c:v>
                </c:pt>
                <c:pt idx="25">
                  <c:v>7</c:v>
                </c:pt>
                <c:pt idx="26">
                  <c:v>2</c:v>
                </c:pt>
                <c:pt idx="27">
                  <c:v>6</c:v>
                </c:pt>
                <c:pt idx="28">
                  <c:v>26</c:v>
                </c:pt>
                <c:pt idx="29">
                  <c:v>10</c:v>
                </c:pt>
                <c:pt idx="30">
                  <c:v>30</c:v>
                </c:pt>
                <c:pt idx="31">
                  <c:v>98</c:v>
                </c:pt>
                <c:pt idx="32">
                  <c:v>33</c:v>
                </c:pt>
                <c:pt idx="33">
                  <c:v>32</c:v>
                </c:pt>
                <c:pt idx="34">
                  <c:v>105</c:v>
                </c:pt>
                <c:pt idx="35">
                  <c:v>51</c:v>
                </c:pt>
                <c:pt idx="36">
                  <c:v>43</c:v>
                </c:pt>
                <c:pt idx="37">
                  <c:v>88</c:v>
                </c:pt>
                <c:pt idx="38">
                  <c:v>93</c:v>
                </c:pt>
                <c:pt idx="39">
                  <c:v>51</c:v>
                </c:pt>
                <c:pt idx="40">
                  <c:v>26</c:v>
                </c:pt>
                <c:pt idx="41">
                  <c:v>178</c:v>
                </c:pt>
                <c:pt idx="42">
                  <c:v>163</c:v>
                </c:pt>
                <c:pt idx="43">
                  <c:v>199</c:v>
                </c:pt>
                <c:pt idx="44">
                  <c:v>213</c:v>
                </c:pt>
                <c:pt idx="45">
                  <c:v>217</c:v>
                </c:pt>
                <c:pt idx="46">
                  <c:v>108</c:v>
                </c:pt>
                <c:pt idx="47">
                  <c:v>51</c:v>
                </c:pt>
                <c:pt idx="48">
                  <c:v>206</c:v>
                </c:pt>
                <c:pt idx="49">
                  <c:v>205</c:v>
                </c:pt>
                <c:pt idx="50">
                  <c:v>275</c:v>
                </c:pt>
                <c:pt idx="51">
                  <c:v>242</c:v>
                </c:pt>
                <c:pt idx="52">
                  <c:v>350</c:v>
                </c:pt>
                <c:pt idx="53">
                  <c:v>190</c:v>
                </c:pt>
                <c:pt idx="54">
                  <c:v>92</c:v>
                </c:pt>
                <c:pt idx="55">
                  <c:v>391</c:v>
                </c:pt>
                <c:pt idx="56">
                  <c:v>423</c:v>
                </c:pt>
                <c:pt idx="57">
                  <c:v>139</c:v>
                </c:pt>
                <c:pt idx="58">
                  <c:v>487</c:v>
                </c:pt>
                <c:pt idx="59">
                  <c:v>347</c:v>
                </c:pt>
                <c:pt idx="60">
                  <c:v>186</c:v>
                </c:pt>
                <c:pt idx="61">
                  <c:v>121</c:v>
                </c:pt>
                <c:pt idx="62">
                  <c:v>318</c:v>
                </c:pt>
                <c:pt idx="63">
                  <c:v>246</c:v>
                </c:pt>
                <c:pt idx="64">
                  <c:v>346</c:v>
                </c:pt>
                <c:pt idx="65">
                  <c:v>294</c:v>
                </c:pt>
                <c:pt idx="66">
                  <c:v>248</c:v>
                </c:pt>
                <c:pt idx="67">
                  <c:v>122</c:v>
                </c:pt>
                <c:pt idx="68">
                  <c:v>51</c:v>
                </c:pt>
                <c:pt idx="69">
                  <c:v>208</c:v>
                </c:pt>
                <c:pt idx="70">
                  <c:v>214</c:v>
                </c:pt>
                <c:pt idx="71">
                  <c:v>278</c:v>
                </c:pt>
                <c:pt idx="72">
                  <c:v>248</c:v>
                </c:pt>
                <c:pt idx="73">
                  <c:v>211</c:v>
                </c:pt>
                <c:pt idx="74">
                  <c:v>78</c:v>
                </c:pt>
                <c:pt idx="75">
                  <c:v>34</c:v>
                </c:pt>
                <c:pt idx="76">
                  <c:v>204</c:v>
                </c:pt>
                <c:pt idx="77">
                  <c:v>54</c:v>
                </c:pt>
                <c:pt idx="78">
                  <c:v>169</c:v>
                </c:pt>
                <c:pt idx="79">
                  <c:v>139</c:v>
                </c:pt>
                <c:pt idx="80">
                  <c:v>129</c:v>
                </c:pt>
                <c:pt idx="81">
                  <c:v>41</c:v>
                </c:pt>
                <c:pt idx="82">
                  <c:v>20</c:v>
                </c:pt>
                <c:pt idx="83">
                  <c:v>153</c:v>
                </c:pt>
                <c:pt idx="84">
                  <c:v>112</c:v>
                </c:pt>
                <c:pt idx="85">
                  <c:v>98</c:v>
                </c:pt>
                <c:pt idx="86">
                  <c:v>61</c:v>
                </c:pt>
                <c:pt idx="87">
                  <c:v>84</c:v>
                </c:pt>
                <c:pt idx="88">
                  <c:v>23</c:v>
                </c:pt>
                <c:pt idx="89">
                  <c:v>16</c:v>
                </c:pt>
                <c:pt idx="90">
                  <c:v>116</c:v>
                </c:pt>
                <c:pt idx="91">
                  <c:v>92</c:v>
                </c:pt>
                <c:pt idx="92">
                  <c:v>76</c:v>
                </c:pt>
                <c:pt idx="93">
                  <c:v>64</c:v>
                </c:pt>
                <c:pt idx="94">
                  <c:v>94</c:v>
                </c:pt>
                <c:pt idx="95">
                  <c:v>42</c:v>
                </c:pt>
                <c:pt idx="96">
                  <c:v>28</c:v>
                </c:pt>
                <c:pt idx="97">
                  <c:v>122</c:v>
                </c:pt>
                <c:pt idx="98">
                  <c:v>80</c:v>
                </c:pt>
                <c:pt idx="99">
                  <c:v>66</c:v>
                </c:pt>
                <c:pt idx="100">
                  <c:v>63</c:v>
                </c:pt>
                <c:pt idx="101">
                  <c:v>80</c:v>
                </c:pt>
                <c:pt idx="102">
                  <c:v>21</c:v>
                </c:pt>
                <c:pt idx="103">
                  <c:v>18</c:v>
                </c:pt>
                <c:pt idx="104">
                  <c:v>143</c:v>
                </c:pt>
                <c:pt idx="105">
                  <c:v>73</c:v>
                </c:pt>
                <c:pt idx="106">
                  <c:v>98</c:v>
                </c:pt>
                <c:pt idx="107">
                  <c:v>56</c:v>
                </c:pt>
                <c:pt idx="108">
                  <c:v>89</c:v>
                </c:pt>
                <c:pt idx="109">
                  <c:v>32</c:v>
                </c:pt>
                <c:pt idx="110">
                  <c:v>29</c:v>
                </c:pt>
                <c:pt idx="111">
                  <c:v>169</c:v>
                </c:pt>
                <c:pt idx="112">
                  <c:v>118</c:v>
                </c:pt>
                <c:pt idx="113">
                  <c:v>129</c:v>
                </c:pt>
                <c:pt idx="114">
                  <c:v>32</c:v>
                </c:pt>
                <c:pt idx="115">
                  <c:v>51</c:v>
                </c:pt>
                <c:pt idx="116">
                  <c:v>54</c:v>
                </c:pt>
                <c:pt idx="117">
                  <c:v>49</c:v>
                </c:pt>
                <c:pt idx="118">
                  <c:v>194</c:v>
                </c:pt>
                <c:pt idx="119">
                  <c:v>147</c:v>
                </c:pt>
                <c:pt idx="120">
                  <c:v>114</c:v>
                </c:pt>
                <c:pt idx="121">
                  <c:v>94</c:v>
                </c:pt>
                <c:pt idx="122">
                  <c:v>34</c:v>
                </c:pt>
                <c:pt idx="123">
                  <c:v>66</c:v>
                </c:pt>
                <c:pt idx="124">
                  <c:v>38</c:v>
                </c:pt>
                <c:pt idx="125">
                  <c:v>305</c:v>
                </c:pt>
                <c:pt idx="126">
                  <c:v>150</c:v>
                </c:pt>
                <c:pt idx="127">
                  <c:v>123</c:v>
                </c:pt>
                <c:pt idx="128">
                  <c:v>110</c:v>
                </c:pt>
                <c:pt idx="129">
                  <c:v>134</c:v>
                </c:pt>
                <c:pt idx="130">
                  <c:v>61</c:v>
                </c:pt>
                <c:pt idx="131">
                  <c:v>27</c:v>
                </c:pt>
                <c:pt idx="132">
                  <c:v>252</c:v>
                </c:pt>
                <c:pt idx="133">
                  <c:v>101</c:v>
                </c:pt>
                <c:pt idx="134">
                  <c:v>113</c:v>
                </c:pt>
                <c:pt idx="135">
                  <c:v>60</c:v>
                </c:pt>
                <c:pt idx="136">
                  <c:v>70</c:v>
                </c:pt>
                <c:pt idx="137">
                  <c:v>36</c:v>
                </c:pt>
                <c:pt idx="138">
                  <c:v>30</c:v>
                </c:pt>
                <c:pt idx="139">
                  <c:v>134</c:v>
                </c:pt>
                <c:pt idx="140">
                  <c:v>77</c:v>
                </c:pt>
                <c:pt idx="141">
                  <c:v>74</c:v>
                </c:pt>
                <c:pt idx="142">
                  <c:v>70</c:v>
                </c:pt>
                <c:pt idx="143">
                  <c:v>83</c:v>
                </c:pt>
                <c:pt idx="144">
                  <c:v>28</c:v>
                </c:pt>
                <c:pt idx="145">
                  <c:v>14</c:v>
                </c:pt>
                <c:pt idx="146">
                  <c:v>93</c:v>
                </c:pt>
                <c:pt idx="147">
                  <c:v>79</c:v>
                </c:pt>
                <c:pt idx="148">
                  <c:v>60</c:v>
                </c:pt>
                <c:pt idx="149">
                  <c:v>37</c:v>
                </c:pt>
                <c:pt idx="150">
                  <c:v>52</c:v>
                </c:pt>
                <c:pt idx="151">
                  <c:v>31</c:v>
                </c:pt>
                <c:pt idx="152">
                  <c:v>16</c:v>
                </c:pt>
                <c:pt idx="153">
                  <c:v>84</c:v>
                </c:pt>
                <c:pt idx="154">
                  <c:v>78</c:v>
                </c:pt>
                <c:pt idx="155">
                  <c:v>60</c:v>
                </c:pt>
                <c:pt idx="156">
                  <c:v>48</c:v>
                </c:pt>
                <c:pt idx="157">
                  <c:v>55</c:v>
                </c:pt>
                <c:pt idx="158">
                  <c:v>14</c:v>
                </c:pt>
                <c:pt idx="159">
                  <c:v>18</c:v>
                </c:pt>
                <c:pt idx="160">
                  <c:v>75</c:v>
                </c:pt>
                <c:pt idx="161">
                  <c:v>22</c:v>
                </c:pt>
                <c:pt idx="162">
                  <c:v>34</c:v>
                </c:pt>
                <c:pt idx="163">
                  <c:v>42</c:v>
                </c:pt>
                <c:pt idx="164">
                  <c:v>41</c:v>
                </c:pt>
                <c:pt idx="165">
                  <c:v>15</c:v>
                </c:pt>
                <c:pt idx="166">
                  <c:v>19</c:v>
                </c:pt>
                <c:pt idx="167">
                  <c:v>68</c:v>
                </c:pt>
                <c:pt idx="168">
                  <c:v>34</c:v>
                </c:pt>
                <c:pt idx="169">
                  <c:v>38</c:v>
                </c:pt>
                <c:pt idx="170">
                  <c:v>37</c:v>
                </c:pt>
                <c:pt idx="171">
                  <c:v>43</c:v>
                </c:pt>
                <c:pt idx="172">
                  <c:v>8</c:v>
                </c:pt>
                <c:pt idx="173">
                  <c:v>23</c:v>
                </c:pt>
                <c:pt idx="174">
                  <c:v>82</c:v>
                </c:pt>
                <c:pt idx="175">
                  <c:v>48</c:v>
                </c:pt>
                <c:pt idx="176">
                  <c:v>37</c:v>
                </c:pt>
                <c:pt idx="177">
                  <c:v>36</c:v>
                </c:pt>
                <c:pt idx="178">
                  <c:v>48</c:v>
                </c:pt>
                <c:pt idx="179">
                  <c:v>12</c:v>
                </c:pt>
                <c:pt idx="180">
                  <c:v>10</c:v>
                </c:pt>
                <c:pt idx="181">
                  <c:v>67</c:v>
                </c:pt>
                <c:pt idx="182">
                  <c:v>44</c:v>
                </c:pt>
                <c:pt idx="183">
                  <c:v>58</c:v>
                </c:pt>
                <c:pt idx="184">
                  <c:v>48</c:v>
                </c:pt>
                <c:pt idx="185">
                  <c:v>38</c:v>
                </c:pt>
                <c:pt idx="186">
                  <c:v>16</c:v>
                </c:pt>
                <c:pt idx="187">
                  <c:v>14</c:v>
                </c:pt>
                <c:pt idx="188">
                  <c:v>66</c:v>
                </c:pt>
                <c:pt idx="189">
                  <c:v>42</c:v>
                </c:pt>
                <c:pt idx="190">
                  <c:v>31</c:v>
                </c:pt>
                <c:pt idx="191">
                  <c:v>30</c:v>
                </c:pt>
                <c:pt idx="192">
                  <c:v>21</c:v>
                </c:pt>
                <c:pt idx="193">
                  <c:v>12</c:v>
                </c:pt>
                <c:pt idx="194">
                  <c:v>7</c:v>
                </c:pt>
                <c:pt idx="195">
                  <c:v>41</c:v>
                </c:pt>
                <c:pt idx="196">
                  <c:v>27</c:v>
                </c:pt>
                <c:pt idx="197">
                  <c:v>27</c:v>
                </c:pt>
                <c:pt idx="198">
                  <c:v>16</c:v>
                </c:pt>
                <c:pt idx="199">
                  <c:v>24</c:v>
                </c:pt>
                <c:pt idx="200">
                  <c:v>2</c:v>
                </c:pt>
                <c:pt idx="201">
                  <c:v>5</c:v>
                </c:pt>
                <c:pt idx="202">
                  <c:v>39</c:v>
                </c:pt>
                <c:pt idx="203">
                  <c:v>19</c:v>
                </c:pt>
                <c:pt idx="204">
                  <c:v>11</c:v>
                </c:pt>
                <c:pt idx="205">
                  <c:v>11</c:v>
                </c:pt>
                <c:pt idx="206">
                  <c:v>18</c:v>
                </c:pt>
                <c:pt idx="207">
                  <c:v>3</c:v>
                </c:pt>
                <c:pt idx="208">
                  <c:v>3</c:v>
                </c:pt>
                <c:pt idx="209">
                  <c:v>25</c:v>
                </c:pt>
                <c:pt idx="210">
                  <c:v>20</c:v>
                </c:pt>
                <c:pt idx="211">
                  <c:v>14</c:v>
                </c:pt>
                <c:pt idx="212">
                  <c:v>13</c:v>
                </c:pt>
                <c:pt idx="213">
                  <c:v>5</c:v>
                </c:pt>
                <c:pt idx="214">
                  <c:v>4</c:v>
                </c:pt>
                <c:pt idx="215">
                  <c:v>2</c:v>
                </c:pt>
                <c:pt idx="216">
                  <c:v>8</c:v>
                </c:pt>
                <c:pt idx="217">
                  <c:v>22</c:v>
                </c:pt>
                <c:pt idx="218">
                  <c:v>17</c:v>
                </c:pt>
                <c:pt idx="219">
                  <c:v>18</c:v>
                </c:pt>
                <c:pt idx="220">
                  <c:v>8</c:v>
                </c:pt>
                <c:pt idx="221">
                  <c:v>7</c:v>
                </c:pt>
                <c:pt idx="222">
                  <c:v>1</c:v>
                </c:pt>
                <c:pt idx="223">
                  <c:v>9</c:v>
                </c:pt>
                <c:pt idx="224">
                  <c:v>8</c:v>
                </c:pt>
                <c:pt idx="225">
                  <c:v>5</c:v>
                </c:pt>
                <c:pt idx="226">
                  <c:v>7</c:v>
                </c:pt>
                <c:pt idx="227">
                  <c:v>7</c:v>
                </c:pt>
                <c:pt idx="228">
                  <c:v>1</c:v>
                </c:pt>
                <c:pt idx="229">
                  <c:v>1</c:v>
                </c:pt>
                <c:pt idx="230">
                  <c:v>13</c:v>
                </c:pt>
                <c:pt idx="231">
                  <c:v>7</c:v>
                </c:pt>
                <c:pt idx="232">
                  <c:v>7</c:v>
                </c:pt>
                <c:pt idx="233">
                  <c:v>3</c:v>
                </c:pt>
                <c:pt idx="234">
                  <c:v>3</c:v>
                </c:pt>
                <c:pt idx="235">
                  <c:v>1</c:v>
                </c:pt>
                <c:pt idx="236">
                  <c:v>0</c:v>
                </c:pt>
                <c:pt idx="237">
                  <c:v>9</c:v>
                </c:pt>
                <c:pt idx="238">
                  <c:v>9</c:v>
                </c:pt>
                <c:pt idx="239">
                  <c:v>4</c:v>
                </c:pt>
                <c:pt idx="240">
                  <c:v>3</c:v>
                </c:pt>
                <c:pt idx="241">
                  <c:v>6</c:v>
                </c:pt>
                <c:pt idx="242">
                  <c:v>1</c:v>
                </c:pt>
                <c:pt idx="243">
                  <c:v>2</c:v>
                </c:pt>
                <c:pt idx="244">
                  <c:v>4</c:v>
                </c:pt>
                <c:pt idx="245">
                  <c:v>2</c:v>
                </c:pt>
                <c:pt idx="246">
                  <c:v>1</c:v>
                </c:pt>
                <c:pt idx="247">
                  <c:v>5</c:v>
                </c:pt>
                <c:pt idx="248">
                  <c:v>2</c:v>
                </c:pt>
                <c:pt idx="249">
                  <c:v>2</c:v>
                </c:pt>
                <c:pt idx="250">
                  <c:v>0</c:v>
                </c:pt>
                <c:pt idx="251">
                  <c:v>3</c:v>
                </c:pt>
                <c:pt idx="252">
                  <c:v>4</c:v>
                </c:pt>
                <c:pt idx="253">
                  <c:v>0</c:v>
                </c:pt>
                <c:pt idx="254">
                  <c:v>2</c:v>
                </c:pt>
                <c:pt idx="255">
                  <c:v>1</c:v>
                </c:pt>
                <c:pt idx="256">
                  <c:v>0</c:v>
                </c:pt>
                <c:pt idx="257">
                  <c:v>0</c:v>
                </c:pt>
                <c:pt idx="258">
                  <c:v>6</c:v>
                </c:pt>
                <c:pt idx="259">
                  <c:v>5</c:v>
                </c:pt>
                <c:pt idx="260">
                  <c:v>2</c:v>
                </c:pt>
                <c:pt idx="261">
                  <c:v>4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1</c:v>
                </c:pt>
                <c:pt idx="267">
                  <c:v>1</c:v>
                </c:pt>
                <c:pt idx="268">
                  <c:v>2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1</c:v>
                </c:pt>
                <c:pt idx="273">
                  <c:v>0</c:v>
                </c:pt>
                <c:pt idx="274">
                  <c:v>0</c:v>
                </c:pt>
                <c:pt idx="275">
                  <c:v>2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1</c:v>
                </c:pt>
                <c:pt idx="297">
                  <c:v>1</c:v>
                </c:pt>
                <c:pt idx="298">
                  <c:v>0</c:v>
                </c:pt>
                <c:pt idx="299">
                  <c:v>0</c:v>
                </c:pt>
                <c:pt idx="300">
                  <c:v>1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1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1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1</c:v>
                </c:pt>
                <c:pt idx="363">
                  <c:v>0</c:v>
                </c:pt>
                <c:pt idx="364">
                  <c:v>0</c:v>
                </c:pt>
                <c:pt idx="365">
                  <c:v>5</c:v>
                </c:pt>
                <c:pt idx="366">
                  <c:v>1</c:v>
                </c:pt>
                <c:pt idx="367">
                  <c:v>1</c:v>
                </c:pt>
                <c:pt idx="368">
                  <c:v>0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1</c:v>
                </c:pt>
                <c:pt idx="374">
                  <c:v>1</c:v>
                </c:pt>
                <c:pt idx="375">
                  <c:v>0</c:v>
                </c:pt>
                <c:pt idx="376">
                  <c:v>1</c:v>
                </c:pt>
                <c:pt idx="377">
                  <c:v>0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4</c:v>
                </c:pt>
                <c:pt idx="385">
                  <c:v>4</c:v>
                </c:pt>
                <c:pt idx="386">
                  <c:v>2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4</c:v>
                </c:pt>
                <c:pt idx="392">
                  <c:v>1</c:v>
                </c:pt>
                <c:pt idx="393">
                  <c:v>6</c:v>
                </c:pt>
                <c:pt idx="394">
                  <c:v>2</c:v>
                </c:pt>
                <c:pt idx="395">
                  <c:v>2</c:v>
                </c:pt>
                <c:pt idx="396">
                  <c:v>0</c:v>
                </c:pt>
                <c:pt idx="397">
                  <c:v>0</c:v>
                </c:pt>
                <c:pt idx="398">
                  <c:v>4</c:v>
                </c:pt>
                <c:pt idx="399">
                  <c:v>5</c:v>
                </c:pt>
                <c:pt idx="400">
                  <c:v>2</c:v>
                </c:pt>
                <c:pt idx="401">
                  <c:v>1</c:v>
                </c:pt>
                <c:pt idx="402">
                  <c:v>2</c:v>
                </c:pt>
                <c:pt idx="403">
                  <c:v>1</c:v>
                </c:pt>
                <c:pt idx="404">
                  <c:v>0</c:v>
                </c:pt>
                <c:pt idx="405">
                  <c:v>2</c:v>
                </c:pt>
                <c:pt idx="406">
                  <c:v>3</c:v>
                </c:pt>
                <c:pt idx="407">
                  <c:v>1</c:v>
                </c:pt>
                <c:pt idx="408">
                  <c:v>3</c:v>
                </c:pt>
                <c:pt idx="409">
                  <c:v>7</c:v>
                </c:pt>
                <c:pt idx="410">
                  <c:v>2</c:v>
                </c:pt>
                <c:pt idx="411">
                  <c:v>1</c:v>
                </c:pt>
                <c:pt idx="412">
                  <c:v>12</c:v>
                </c:pt>
                <c:pt idx="413">
                  <c:v>8</c:v>
                </c:pt>
                <c:pt idx="414">
                  <c:v>11</c:v>
                </c:pt>
                <c:pt idx="415">
                  <c:v>7</c:v>
                </c:pt>
                <c:pt idx="416">
                  <c:v>12</c:v>
                </c:pt>
                <c:pt idx="417">
                  <c:v>0</c:v>
                </c:pt>
                <c:pt idx="418">
                  <c:v>4</c:v>
                </c:pt>
                <c:pt idx="419">
                  <c:v>20</c:v>
                </c:pt>
                <c:pt idx="420">
                  <c:v>6</c:v>
                </c:pt>
                <c:pt idx="421">
                  <c:v>18</c:v>
                </c:pt>
                <c:pt idx="422">
                  <c:v>3</c:v>
                </c:pt>
                <c:pt idx="423">
                  <c:v>8</c:v>
                </c:pt>
                <c:pt idx="424">
                  <c:v>5</c:v>
                </c:pt>
                <c:pt idx="425">
                  <c:v>4</c:v>
                </c:pt>
                <c:pt idx="426">
                  <c:v>41</c:v>
                </c:pt>
                <c:pt idx="427">
                  <c:v>26</c:v>
                </c:pt>
                <c:pt idx="428">
                  <c:v>21</c:v>
                </c:pt>
                <c:pt idx="429">
                  <c:v>25</c:v>
                </c:pt>
                <c:pt idx="430">
                  <c:v>27</c:v>
                </c:pt>
                <c:pt idx="431">
                  <c:v>13</c:v>
                </c:pt>
                <c:pt idx="432">
                  <c:v>5</c:v>
                </c:pt>
                <c:pt idx="433">
                  <c:v>54</c:v>
                </c:pt>
                <c:pt idx="434">
                  <c:v>29</c:v>
                </c:pt>
                <c:pt idx="435">
                  <c:v>31</c:v>
                </c:pt>
                <c:pt idx="436">
                  <c:v>38</c:v>
                </c:pt>
                <c:pt idx="437">
                  <c:v>35</c:v>
                </c:pt>
                <c:pt idx="438">
                  <c:v>20</c:v>
                </c:pt>
                <c:pt idx="439">
                  <c:v>14</c:v>
                </c:pt>
                <c:pt idx="440">
                  <c:v>59</c:v>
                </c:pt>
                <c:pt idx="441">
                  <c:v>35</c:v>
                </c:pt>
                <c:pt idx="442">
                  <c:v>14</c:v>
                </c:pt>
                <c:pt idx="443">
                  <c:v>43</c:v>
                </c:pt>
                <c:pt idx="444">
                  <c:v>52</c:v>
                </c:pt>
                <c:pt idx="445">
                  <c:v>13</c:v>
                </c:pt>
                <c:pt idx="446">
                  <c:v>7</c:v>
                </c:pt>
                <c:pt idx="447">
                  <c:v>74</c:v>
                </c:pt>
                <c:pt idx="448">
                  <c:v>44</c:v>
                </c:pt>
                <c:pt idx="449">
                  <c:v>49</c:v>
                </c:pt>
                <c:pt idx="450">
                  <c:v>49</c:v>
                </c:pt>
                <c:pt idx="451">
                  <c:v>51</c:v>
                </c:pt>
                <c:pt idx="452">
                  <c:v>22</c:v>
                </c:pt>
                <c:pt idx="453">
                  <c:v>7</c:v>
                </c:pt>
                <c:pt idx="454">
                  <c:v>44</c:v>
                </c:pt>
                <c:pt idx="455">
                  <c:v>49</c:v>
                </c:pt>
                <c:pt idx="456">
                  <c:v>43</c:v>
                </c:pt>
                <c:pt idx="457">
                  <c:v>33</c:v>
                </c:pt>
                <c:pt idx="458">
                  <c:v>30</c:v>
                </c:pt>
                <c:pt idx="459">
                  <c:v>21</c:v>
                </c:pt>
                <c:pt idx="460">
                  <c:v>10</c:v>
                </c:pt>
                <c:pt idx="461">
                  <c:v>50</c:v>
                </c:pt>
                <c:pt idx="462">
                  <c:v>36</c:v>
                </c:pt>
                <c:pt idx="463">
                  <c:v>35</c:v>
                </c:pt>
                <c:pt idx="464">
                  <c:v>26</c:v>
                </c:pt>
                <c:pt idx="465">
                  <c:v>20</c:v>
                </c:pt>
                <c:pt idx="466">
                  <c:v>13</c:v>
                </c:pt>
                <c:pt idx="467">
                  <c:v>9</c:v>
                </c:pt>
                <c:pt idx="468">
                  <c:v>35</c:v>
                </c:pt>
                <c:pt idx="469">
                  <c:v>37</c:v>
                </c:pt>
                <c:pt idx="470">
                  <c:v>27</c:v>
                </c:pt>
                <c:pt idx="471">
                  <c:v>18</c:v>
                </c:pt>
                <c:pt idx="472">
                  <c:v>16</c:v>
                </c:pt>
                <c:pt idx="473">
                  <c:v>8</c:v>
                </c:pt>
                <c:pt idx="474">
                  <c:v>10</c:v>
                </c:pt>
                <c:pt idx="475">
                  <c:v>28</c:v>
                </c:pt>
                <c:pt idx="476">
                  <c:v>13</c:v>
                </c:pt>
                <c:pt idx="477">
                  <c:v>9</c:v>
                </c:pt>
                <c:pt idx="478">
                  <c:v>4</c:v>
                </c:pt>
                <c:pt idx="479">
                  <c:v>7</c:v>
                </c:pt>
                <c:pt idx="480">
                  <c:v>3</c:v>
                </c:pt>
                <c:pt idx="481">
                  <c:v>5</c:v>
                </c:pt>
                <c:pt idx="482">
                  <c:v>10</c:v>
                </c:pt>
                <c:pt idx="483">
                  <c:v>17</c:v>
                </c:pt>
                <c:pt idx="484">
                  <c:v>10</c:v>
                </c:pt>
                <c:pt idx="485">
                  <c:v>10</c:v>
                </c:pt>
                <c:pt idx="486">
                  <c:v>6</c:v>
                </c:pt>
                <c:pt idx="487">
                  <c:v>1</c:v>
                </c:pt>
                <c:pt idx="488">
                  <c:v>4</c:v>
                </c:pt>
                <c:pt idx="489">
                  <c:v>21</c:v>
                </c:pt>
                <c:pt idx="490">
                  <c:v>14</c:v>
                </c:pt>
                <c:pt idx="491">
                  <c:v>5</c:v>
                </c:pt>
                <c:pt idx="492">
                  <c:v>9</c:v>
                </c:pt>
                <c:pt idx="493">
                  <c:v>11</c:v>
                </c:pt>
                <c:pt idx="494">
                  <c:v>3</c:v>
                </c:pt>
                <c:pt idx="495">
                  <c:v>3</c:v>
                </c:pt>
                <c:pt idx="496">
                  <c:v>18</c:v>
                </c:pt>
                <c:pt idx="497">
                  <c:v>11</c:v>
                </c:pt>
                <c:pt idx="498">
                  <c:v>9</c:v>
                </c:pt>
                <c:pt idx="499">
                  <c:v>13</c:v>
                </c:pt>
                <c:pt idx="500">
                  <c:v>12</c:v>
                </c:pt>
                <c:pt idx="501">
                  <c:v>6</c:v>
                </c:pt>
                <c:pt idx="502">
                  <c:v>11</c:v>
                </c:pt>
                <c:pt idx="503">
                  <c:v>47</c:v>
                </c:pt>
                <c:pt idx="504">
                  <c:v>35</c:v>
                </c:pt>
                <c:pt idx="505">
                  <c:v>43</c:v>
                </c:pt>
                <c:pt idx="506">
                  <c:v>48</c:v>
                </c:pt>
                <c:pt idx="507">
                  <c:v>69</c:v>
                </c:pt>
                <c:pt idx="508">
                  <c:v>20</c:v>
                </c:pt>
                <c:pt idx="509">
                  <c:v>16</c:v>
                </c:pt>
                <c:pt idx="510">
                  <c:v>96</c:v>
                </c:pt>
                <c:pt idx="511">
                  <c:v>105</c:v>
                </c:pt>
                <c:pt idx="512">
                  <c:v>100</c:v>
                </c:pt>
                <c:pt idx="513">
                  <c:v>60</c:v>
                </c:pt>
                <c:pt idx="514">
                  <c:v>72</c:v>
                </c:pt>
                <c:pt idx="515">
                  <c:v>30</c:v>
                </c:pt>
                <c:pt idx="516">
                  <c:v>31</c:v>
                </c:pt>
                <c:pt idx="517">
                  <c:v>116</c:v>
                </c:pt>
                <c:pt idx="518">
                  <c:v>117</c:v>
                </c:pt>
                <c:pt idx="519">
                  <c:v>82</c:v>
                </c:pt>
                <c:pt idx="520">
                  <c:v>71</c:v>
                </c:pt>
                <c:pt idx="521">
                  <c:v>84</c:v>
                </c:pt>
                <c:pt idx="522">
                  <c:v>32</c:v>
                </c:pt>
                <c:pt idx="523">
                  <c:v>25</c:v>
                </c:pt>
                <c:pt idx="524">
                  <c:v>133</c:v>
                </c:pt>
                <c:pt idx="525">
                  <c:v>91</c:v>
                </c:pt>
                <c:pt idx="526">
                  <c:v>65</c:v>
                </c:pt>
                <c:pt idx="527">
                  <c:v>69</c:v>
                </c:pt>
                <c:pt idx="528">
                  <c:v>51</c:v>
                </c:pt>
                <c:pt idx="529">
                  <c:v>22</c:v>
                </c:pt>
                <c:pt idx="530">
                  <c:v>27</c:v>
                </c:pt>
                <c:pt idx="531">
                  <c:v>90</c:v>
                </c:pt>
                <c:pt idx="532">
                  <c:v>75</c:v>
                </c:pt>
                <c:pt idx="533">
                  <c:v>69</c:v>
                </c:pt>
                <c:pt idx="534">
                  <c:v>41</c:v>
                </c:pt>
                <c:pt idx="535">
                  <c:v>30</c:v>
                </c:pt>
                <c:pt idx="536">
                  <c:v>24</c:v>
                </c:pt>
                <c:pt idx="537">
                  <c:v>11</c:v>
                </c:pt>
                <c:pt idx="538">
                  <c:v>66</c:v>
                </c:pt>
                <c:pt idx="539">
                  <c:v>39</c:v>
                </c:pt>
                <c:pt idx="540">
                  <c:v>40</c:v>
                </c:pt>
                <c:pt idx="541">
                  <c:v>33</c:v>
                </c:pt>
                <c:pt idx="542">
                  <c:v>26</c:v>
                </c:pt>
                <c:pt idx="543">
                  <c:v>11</c:v>
                </c:pt>
                <c:pt idx="544">
                  <c:v>12</c:v>
                </c:pt>
                <c:pt idx="545">
                  <c:v>43</c:v>
                </c:pt>
                <c:pt idx="546">
                  <c:v>32</c:v>
                </c:pt>
                <c:pt idx="547">
                  <c:v>25</c:v>
                </c:pt>
                <c:pt idx="548">
                  <c:v>21</c:v>
                </c:pt>
                <c:pt idx="549">
                  <c:v>16</c:v>
                </c:pt>
                <c:pt idx="550">
                  <c:v>12</c:v>
                </c:pt>
                <c:pt idx="551">
                  <c:v>5</c:v>
                </c:pt>
                <c:pt idx="552">
                  <c:v>44</c:v>
                </c:pt>
                <c:pt idx="553">
                  <c:v>26</c:v>
                </c:pt>
                <c:pt idx="554">
                  <c:v>33</c:v>
                </c:pt>
                <c:pt idx="555">
                  <c:v>17</c:v>
                </c:pt>
                <c:pt idx="556">
                  <c:v>33</c:v>
                </c:pt>
                <c:pt idx="557">
                  <c:v>10</c:v>
                </c:pt>
                <c:pt idx="558">
                  <c:v>5</c:v>
                </c:pt>
                <c:pt idx="559">
                  <c:v>34</c:v>
                </c:pt>
                <c:pt idx="560">
                  <c:v>34</c:v>
                </c:pt>
                <c:pt idx="561">
                  <c:v>25</c:v>
                </c:pt>
                <c:pt idx="562">
                  <c:v>14</c:v>
                </c:pt>
                <c:pt idx="563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celkem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65</c:f>
              <c:numCache>
                <c:formatCode>m/d/yyyy</c:formatCode>
                <c:ptCount val="56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</c:numCache>
            </c:numRef>
          </c:cat>
          <c:val>
            <c:numRef>
              <c:f>Sheet1!$B$2:$B$565</c:f>
              <c:numCache>
                <c:formatCode>#\ ##0_ ;\-#\ ##0\ </c:formatCode>
                <c:ptCount val="564"/>
                <c:pt idx="0">
                  <c:v>9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3</c:v>
                </c:pt>
                <c:pt idx="9">
                  <c:v>2</c:v>
                </c:pt>
                <c:pt idx="10">
                  <c:v>1</c:v>
                </c:pt>
                <c:pt idx="11">
                  <c:v>5</c:v>
                </c:pt>
                <c:pt idx="12">
                  <c:v>1</c:v>
                </c:pt>
                <c:pt idx="13">
                  <c:v>13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4</c:v>
                </c:pt>
                <c:pt idx="18">
                  <c:v>3</c:v>
                </c:pt>
                <c:pt idx="19">
                  <c:v>8</c:v>
                </c:pt>
                <c:pt idx="20">
                  <c:v>7</c:v>
                </c:pt>
                <c:pt idx="21">
                  <c:v>8</c:v>
                </c:pt>
                <c:pt idx="22">
                  <c:v>2</c:v>
                </c:pt>
                <c:pt idx="23">
                  <c:v>7</c:v>
                </c:pt>
                <c:pt idx="24">
                  <c:v>13</c:v>
                </c:pt>
                <c:pt idx="25">
                  <c:v>12</c:v>
                </c:pt>
                <c:pt idx="26">
                  <c:v>9</c:v>
                </c:pt>
                <c:pt idx="27">
                  <c:v>9</c:v>
                </c:pt>
                <c:pt idx="28">
                  <c:v>31</c:v>
                </c:pt>
                <c:pt idx="29">
                  <c:v>38</c:v>
                </c:pt>
                <c:pt idx="30">
                  <c:v>61</c:v>
                </c:pt>
                <c:pt idx="31">
                  <c:v>161</c:v>
                </c:pt>
                <c:pt idx="32">
                  <c:v>69</c:v>
                </c:pt>
                <c:pt idx="33">
                  <c:v>88</c:v>
                </c:pt>
                <c:pt idx="34">
                  <c:v>272</c:v>
                </c:pt>
                <c:pt idx="35">
                  <c:v>134</c:v>
                </c:pt>
                <c:pt idx="36">
                  <c:v>88</c:v>
                </c:pt>
                <c:pt idx="37">
                  <c:v>167</c:v>
                </c:pt>
                <c:pt idx="38">
                  <c:v>232</c:v>
                </c:pt>
                <c:pt idx="39">
                  <c:v>81</c:v>
                </c:pt>
                <c:pt idx="40">
                  <c:v>39</c:v>
                </c:pt>
                <c:pt idx="41">
                  <c:v>317</c:v>
                </c:pt>
                <c:pt idx="42">
                  <c:v>388</c:v>
                </c:pt>
                <c:pt idx="43">
                  <c:v>381</c:v>
                </c:pt>
                <c:pt idx="44">
                  <c:v>413</c:v>
                </c:pt>
                <c:pt idx="45">
                  <c:v>423</c:v>
                </c:pt>
                <c:pt idx="46">
                  <c:v>265</c:v>
                </c:pt>
                <c:pt idx="47">
                  <c:v>92</c:v>
                </c:pt>
                <c:pt idx="48">
                  <c:v>452</c:v>
                </c:pt>
                <c:pt idx="49">
                  <c:v>408</c:v>
                </c:pt>
                <c:pt idx="50">
                  <c:v>602</c:v>
                </c:pt>
                <c:pt idx="51">
                  <c:v>480</c:v>
                </c:pt>
                <c:pt idx="52">
                  <c:v>774</c:v>
                </c:pt>
                <c:pt idx="53">
                  <c:v>421</c:v>
                </c:pt>
                <c:pt idx="54">
                  <c:v>290</c:v>
                </c:pt>
                <c:pt idx="55">
                  <c:v>782</c:v>
                </c:pt>
                <c:pt idx="56">
                  <c:v>959</c:v>
                </c:pt>
                <c:pt idx="57">
                  <c:v>405</c:v>
                </c:pt>
                <c:pt idx="58">
                  <c:v>1034</c:v>
                </c:pt>
                <c:pt idx="59">
                  <c:v>936</c:v>
                </c:pt>
                <c:pt idx="60">
                  <c:v>525</c:v>
                </c:pt>
                <c:pt idx="61">
                  <c:v>337</c:v>
                </c:pt>
                <c:pt idx="62">
                  <c:v>655</c:v>
                </c:pt>
                <c:pt idx="63">
                  <c:v>596</c:v>
                </c:pt>
                <c:pt idx="64">
                  <c:v>773</c:v>
                </c:pt>
                <c:pt idx="65">
                  <c:v>836</c:v>
                </c:pt>
                <c:pt idx="66">
                  <c:v>747</c:v>
                </c:pt>
                <c:pt idx="67">
                  <c:v>338</c:v>
                </c:pt>
                <c:pt idx="68">
                  <c:v>134</c:v>
                </c:pt>
                <c:pt idx="69">
                  <c:v>417</c:v>
                </c:pt>
                <c:pt idx="70">
                  <c:v>601</c:v>
                </c:pt>
                <c:pt idx="71">
                  <c:v>961</c:v>
                </c:pt>
                <c:pt idx="72">
                  <c:v>754</c:v>
                </c:pt>
                <c:pt idx="73">
                  <c:v>697</c:v>
                </c:pt>
                <c:pt idx="74">
                  <c:v>264</c:v>
                </c:pt>
                <c:pt idx="75">
                  <c:v>204</c:v>
                </c:pt>
                <c:pt idx="76">
                  <c:v>596</c:v>
                </c:pt>
                <c:pt idx="77">
                  <c:v>193</c:v>
                </c:pt>
                <c:pt idx="78">
                  <c:v>442</c:v>
                </c:pt>
                <c:pt idx="79">
                  <c:v>414</c:v>
                </c:pt>
                <c:pt idx="80">
                  <c:v>374</c:v>
                </c:pt>
                <c:pt idx="81">
                  <c:v>137</c:v>
                </c:pt>
                <c:pt idx="82">
                  <c:v>113</c:v>
                </c:pt>
                <c:pt idx="83">
                  <c:v>538</c:v>
                </c:pt>
                <c:pt idx="84">
                  <c:v>313</c:v>
                </c:pt>
                <c:pt idx="85">
                  <c:v>229</c:v>
                </c:pt>
                <c:pt idx="86">
                  <c:v>260</c:v>
                </c:pt>
                <c:pt idx="87">
                  <c:v>224</c:v>
                </c:pt>
                <c:pt idx="88">
                  <c:v>102</c:v>
                </c:pt>
                <c:pt idx="89">
                  <c:v>45</c:v>
                </c:pt>
                <c:pt idx="90">
                  <c:v>330</c:v>
                </c:pt>
                <c:pt idx="91">
                  <c:v>218</c:v>
                </c:pt>
                <c:pt idx="92">
                  <c:v>212</c:v>
                </c:pt>
                <c:pt idx="93">
                  <c:v>196</c:v>
                </c:pt>
                <c:pt idx="94">
                  <c:v>244</c:v>
                </c:pt>
                <c:pt idx="95">
                  <c:v>132</c:v>
                </c:pt>
                <c:pt idx="96">
                  <c:v>51</c:v>
                </c:pt>
                <c:pt idx="97">
                  <c:v>266</c:v>
                </c:pt>
                <c:pt idx="98">
                  <c:v>172</c:v>
                </c:pt>
                <c:pt idx="99">
                  <c:v>207</c:v>
                </c:pt>
                <c:pt idx="100">
                  <c:v>148</c:v>
                </c:pt>
                <c:pt idx="101">
                  <c:v>320</c:v>
                </c:pt>
                <c:pt idx="102">
                  <c:v>88</c:v>
                </c:pt>
                <c:pt idx="103">
                  <c:v>69</c:v>
                </c:pt>
                <c:pt idx="104">
                  <c:v>293</c:v>
                </c:pt>
                <c:pt idx="105">
                  <c:v>207</c:v>
                </c:pt>
                <c:pt idx="106">
                  <c:v>198</c:v>
                </c:pt>
                <c:pt idx="107">
                  <c:v>126</c:v>
                </c:pt>
                <c:pt idx="108">
                  <c:v>313</c:v>
                </c:pt>
                <c:pt idx="109">
                  <c:v>93</c:v>
                </c:pt>
                <c:pt idx="110">
                  <c:v>51</c:v>
                </c:pt>
                <c:pt idx="111">
                  <c:v>349</c:v>
                </c:pt>
                <c:pt idx="112">
                  <c:v>296</c:v>
                </c:pt>
                <c:pt idx="113">
                  <c:v>253</c:v>
                </c:pt>
                <c:pt idx="114">
                  <c:v>51</c:v>
                </c:pt>
                <c:pt idx="115">
                  <c:v>124</c:v>
                </c:pt>
                <c:pt idx="116">
                  <c:v>133</c:v>
                </c:pt>
                <c:pt idx="117">
                  <c:v>147</c:v>
                </c:pt>
                <c:pt idx="118">
                  <c:v>360</c:v>
                </c:pt>
                <c:pt idx="119">
                  <c:v>332</c:v>
                </c:pt>
                <c:pt idx="120">
                  <c:v>262</c:v>
                </c:pt>
                <c:pt idx="121">
                  <c:v>230</c:v>
                </c:pt>
                <c:pt idx="122">
                  <c:v>101</c:v>
                </c:pt>
                <c:pt idx="123">
                  <c:v>128</c:v>
                </c:pt>
                <c:pt idx="124">
                  <c:v>81</c:v>
                </c:pt>
                <c:pt idx="125">
                  <c:v>576</c:v>
                </c:pt>
                <c:pt idx="126">
                  <c:v>306</c:v>
                </c:pt>
                <c:pt idx="127">
                  <c:v>286</c:v>
                </c:pt>
                <c:pt idx="128">
                  <c:v>345</c:v>
                </c:pt>
                <c:pt idx="129">
                  <c:v>324</c:v>
                </c:pt>
                <c:pt idx="130">
                  <c:v>127</c:v>
                </c:pt>
                <c:pt idx="131">
                  <c:v>64</c:v>
                </c:pt>
                <c:pt idx="132">
                  <c:v>497</c:v>
                </c:pt>
                <c:pt idx="133">
                  <c:v>231</c:v>
                </c:pt>
                <c:pt idx="134">
                  <c:v>288</c:v>
                </c:pt>
                <c:pt idx="135">
                  <c:v>159</c:v>
                </c:pt>
                <c:pt idx="136">
                  <c:v>162</c:v>
                </c:pt>
                <c:pt idx="137">
                  <c:v>72</c:v>
                </c:pt>
                <c:pt idx="138">
                  <c:v>78</c:v>
                </c:pt>
                <c:pt idx="139">
                  <c:v>301</c:v>
                </c:pt>
                <c:pt idx="140">
                  <c:v>161</c:v>
                </c:pt>
                <c:pt idx="141">
                  <c:v>221</c:v>
                </c:pt>
                <c:pt idx="142">
                  <c:v>178</c:v>
                </c:pt>
                <c:pt idx="143">
                  <c:v>202</c:v>
                </c:pt>
                <c:pt idx="144">
                  <c:v>82</c:v>
                </c:pt>
                <c:pt idx="145">
                  <c:v>40</c:v>
                </c:pt>
                <c:pt idx="146">
                  <c:v>181</c:v>
                </c:pt>
                <c:pt idx="147">
                  <c:v>122</c:v>
                </c:pt>
                <c:pt idx="148">
                  <c:v>156</c:v>
                </c:pt>
                <c:pt idx="149">
                  <c:v>105</c:v>
                </c:pt>
                <c:pt idx="150">
                  <c:v>90</c:v>
                </c:pt>
                <c:pt idx="151">
                  <c:v>80</c:v>
                </c:pt>
                <c:pt idx="152">
                  <c:v>26</c:v>
                </c:pt>
                <c:pt idx="153">
                  <c:v>192</c:v>
                </c:pt>
                <c:pt idx="154">
                  <c:v>176</c:v>
                </c:pt>
                <c:pt idx="155">
                  <c:v>163</c:v>
                </c:pt>
                <c:pt idx="156">
                  <c:v>134</c:v>
                </c:pt>
                <c:pt idx="157">
                  <c:v>141</c:v>
                </c:pt>
                <c:pt idx="158">
                  <c:v>58</c:v>
                </c:pt>
                <c:pt idx="159">
                  <c:v>34</c:v>
                </c:pt>
                <c:pt idx="160">
                  <c:v>141</c:v>
                </c:pt>
                <c:pt idx="161">
                  <c:v>88</c:v>
                </c:pt>
                <c:pt idx="162">
                  <c:v>102</c:v>
                </c:pt>
                <c:pt idx="163">
                  <c:v>112</c:v>
                </c:pt>
                <c:pt idx="164">
                  <c:v>93</c:v>
                </c:pt>
                <c:pt idx="165">
                  <c:v>24</c:v>
                </c:pt>
                <c:pt idx="166">
                  <c:v>33</c:v>
                </c:pt>
                <c:pt idx="167">
                  <c:v>105</c:v>
                </c:pt>
                <c:pt idx="168">
                  <c:v>53</c:v>
                </c:pt>
                <c:pt idx="169">
                  <c:v>68</c:v>
                </c:pt>
                <c:pt idx="170">
                  <c:v>68</c:v>
                </c:pt>
                <c:pt idx="171">
                  <c:v>71</c:v>
                </c:pt>
                <c:pt idx="172">
                  <c:v>27</c:v>
                </c:pt>
                <c:pt idx="173">
                  <c:v>31</c:v>
                </c:pt>
                <c:pt idx="174">
                  <c:v>174</c:v>
                </c:pt>
                <c:pt idx="175">
                  <c:v>85</c:v>
                </c:pt>
                <c:pt idx="176">
                  <c:v>73</c:v>
                </c:pt>
                <c:pt idx="177">
                  <c:v>82</c:v>
                </c:pt>
                <c:pt idx="178">
                  <c:v>97</c:v>
                </c:pt>
                <c:pt idx="179">
                  <c:v>23</c:v>
                </c:pt>
                <c:pt idx="180">
                  <c:v>13</c:v>
                </c:pt>
                <c:pt idx="181">
                  <c:v>146</c:v>
                </c:pt>
                <c:pt idx="182">
                  <c:v>73</c:v>
                </c:pt>
                <c:pt idx="183">
                  <c:v>102</c:v>
                </c:pt>
                <c:pt idx="184">
                  <c:v>59</c:v>
                </c:pt>
                <c:pt idx="185">
                  <c:v>62</c:v>
                </c:pt>
                <c:pt idx="186">
                  <c:v>21</c:v>
                </c:pt>
                <c:pt idx="187">
                  <c:v>20</c:v>
                </c:pt>
                <c:pt idx="188">
                  <c:v>94</c:v>
                </c:pt>
                <c:pt idx="189">
                  <c:v>157</c:v>
                </c:pt>
                <c:pt idx="190">
                  <c:v>99</c:v>
                </c:pt>
                <c:pt idx="191">
                  <c:v>45</c:v>
                </c:pt>
                <c:pt idx="192">
                  <c:v>55</c:v>
                </c:pt>
                <c:pt idx="193">
                  <c:v>21</c:v>
                </c:pt>
                <c:pt idx="194">
                  <c:v>14</c:v>
                </c:pt>
                <c:pt idx="195">
                  <c:v>72</c:v>
                </c:pt>
                <c:pt idx="196">
                  <c:v>49</c:v>
                </c:pt>
                <c:pt idx="197">
                  <c:v>39</c:v>
                </c:pt>
                <c:pt idx="198">
                  <c:v>53</c:v>
                </c:pt>
                <c:pt idx="199">
                  <c:v>42</c:v>
                </c:pt>
                <c:pt idx="200">
                  <c:v>12</c:v>
                </c:pt>
                <c:pt idx="201">
                  <c:v>9</c:v>
                </c:pt>
                <c:pt idx="202">
                  <c:v>52</c:v>
                </c:pt>
                <c:pt idx="203">
                  <c:v>50</c:v>
                </c:pt>
                <c:pt idx="204">
                  <c:v>33</c:v>
                </c:pt>
                <c:pt idx="205">
                  <c:v>43</c:v>
                </c:pt>
                <c:pt idx="206">
                  <c:v>25</c:v>
                </c:pt>
                <c:pt idx="207">
                  <c:v>6</c:v>
                </c:pt>
                <c:pt idx="208">
                  <c:v>7</c:v>
                </c:pt>
                <c:pt idx="209">
                  <c:v>47</c:v>
                </c:pt>
                <c:pt idx="210">
                  <c:v>33</c:v>
                </c:pt>
                <c:pt idx="211">
                  <c:v>25</c:v>
                </c:pt>
                <c:pt idx="212">
                  <c:v>24</c:v>
                </c:pt>
                <c:pt idx="213">
                  <c:v>9</c:v>
                </c:pt>
                <c:pt idx="214">
                  <c:v>8</c:v>
                </c:pt>
                <c:pt idx="215">
                  <c:v>4</c:v>
                </c:pt>
                <c:pt idx="216">
                  <c:v>9</c:v>
                </c:pt>
                <c:pt idx="217">
                  <c:v>27</c:v>
                </c:pt>
                <c:pt idx="218">
                  <c:v>36</c:v>
                </c:pt>
                <c:pt idx="219">
                  <c:v>20</c:v>
                </c:pt>
                <c:pt idx="220">
                  <c:v>11</c:v>
                </c:pt>
                <c:pt idx="221">
                  <c:v>8</c:v>
                </c:pt>
                <c:pt idx="222">
                  <c:v>1</c:v>
                </c:pt>
                <c:pt idx="223">
                  <c:v>11</c:v>
                </c:pt>
                <c:pt idx="224">
                  <c:v>11</c:v>
                </c:pt>
                <c:pt idx="225">
                  <c:v>9</c:v>
                </c:pt>
                <c:pt idx="226">
                  <c:v>11</c:v>
                </c:pt>
                <c:pt idx="227">
                  <c:v>8</c:v>
                </c:pt>
                <c:pt idx="228">
                  <c:v>2</c:v>
                </c:pt>
                <c:pt idx="229">
                  <c:v>3</c:v>
                </c:pt>
                <c:pt idx="230">
                  <c:v>20</c:v>
                </c:pt>
                <c:pt idx="231">
                  <c:v>12</c:v>
                </c:pt>
                <c:pt idx="232">
                  <c:v>10</c:v>
                </c:pt>
                <c:pt idx="233">
                  <c:v>22</c:v>
                </c:pt>
                <c:pt idx="234">
                  <c:v>11</c:v>
                </c:pt>
                <c:pt idx="235">
                  <c:v>2</c:v>
                </c:pt>
                <c:pt idx="236">
                  <c:v>0</c:v>
                </c:pt>
                <c:pt idx="237">
                  <c:v>11</c:v>
                </c:pt>
                <c:pt idx="238">
                  <c:v>13</c:v>
                </c:pt>
                <c:pt idx="239">
                  <c:v>5</c:v>
                </c:pt>
                <c:pt idx="240">
                  <c:v>5</c:v>
                </c:pt>
                <c:pt idx="241">
                  <c:v>7</c:v>
                </c:pt>
                <c:pt idx="242">
                  <c:v>1</c:v>
                </c:pt>
                <c:pt idx="243">
                  <c:v>2</c:v>
                </c:pt>
                <c:pt idx="244">
                  <c:v>6</c:v>
                </c:pt>
                <c:pt idx="245">
                  <c:v>2</c:v>
                </c:pt>
                <c:pt idx="246">
                  <c:v>4</c:v>
                </c:pt>
                <c:pt idx="247">
                  <c:v>6</c:v>
                </c:pt>
                <c:pt idx="248">
                  <c:v>4</c:v>
                </c:pt>
                <c:pt idx="249">
                  <c:v>2</c:v>
                </c:pt>
                <c:pt idx="250">
                  <c:v>3</c:v>
                </c:pt>
                <c:pt idx="251">
                  <c:v>8</c:v>
                </c:pt>
                <c:pt idx="252">
                  <c:v>6</c:v>
                </c:pt>
                <c:pt idx="253">
                  <c:v>0</c:v>
                </c:pt>
                <c:pt idx="254">
                  <c:v>5</c:v>
                </c:pt>
                <c:pt idx="255">
                  <c:v>6</c:v>
                </c:pt>
                <c:pt idx="256">
                  <c:v>1</c:v>
                </c:pt>
                <c:pt idx="257">
                  <c:v>0</c:v>
                </c:pt>
                <c:pt idx="258">
                  <c:v>9</c:v>
                </c:pt>
                <c:pt idx="259">
                  <c:v>5</c:v>
                </c:pt>
                <c:pt idx="260">
                  <c:v>4</c:v>
                </c:pt>
                <c:pt idx="261">
                  <c:v>4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4</c:v>
                </c:pt>
                <c:pt idx="266">
                  <c:v>1</c:v>
                </c:pt>
                <c:pt idx="267">
                  <c:v>1</c:v>
                </c:pt>
                <c:pt idx="268">
                  <c:v>2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2</c:v>
                </c:pt>
                <c:pt idx="273">
                  <c:v>0</c:v>
                </c:pt>
                <c:pt idx="274">
                  <c:v>3</c:v>
                </c:pt>
                <c:pt idx="275">
                  <c:v>3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1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1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2</c:v>
                </c:pt>
                <c:pt idx="297">
                  <c:v>1</c:v>
                </c:pt>
                <c:pt idx="298">
                  <c:v>0</c:v>
                </c:pt>
                <c:pt idx="299">
                  <c:v>0</c:v>
                </c:pt>
                <c:pt idx="300">
                  <c:v>1</c:v>
                </c:pt>
                <c:pt idx="301">
                  <c:v>0</c:v>
                </c:pt>
                <c:pt idx="302">
                  <c:v>1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1</c:v>
                </c:pt>
                <c:pt idx="309">
                  <c:v>1</c:v>
                </c:pt>
                <c:pt idx="310">
                  <c:v>2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1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1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3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1</c:v>
                </c:pt>
                <c:pt idx="363">
                  <c:v>0</c:v>
                </c:pt>
                <c:pt idx="364">
                  <c:v>0</c:v>
                </c:pt>
                <c:pt idx="365">
                  <c:v>6</c:v>
                </c:pt>
                <c:pt idx="366">
                  <c:v>5</c:v>
                </c:pt>
                <c:pt idx="367">
                  <c:v>3</c:v>
                </c:pt>
                <c:pt idx="368">
                  <c:v>1</c:v>
                </c:pt>
                <c:pt idx="369">
                  <c:v>0</c:v>
                </c:pt>
                <c:pt idx="370">
                  <c:v>5</c:v>
                </c:pt>
                <c:pt idx="371">
                  <c:v>2</c:v>
                </c:pt>
                <c:pt idx="372">
                  <c:v>1</c:v>
                </c:pt>
                <c:pt idx="373">
                  <c:v>2</c:v>
                </c:pt>
                <c:pt idx="374">
                  <c:v>1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5</c:v>
                </c:pt>
                <c:pt idx="385">
                  <c:v>8</c:v>
                </c:pt>
                <c:pt idx="386">
                  <c:v>3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1</c:v>
                </c:pt>
                <c:pt idx="391">
                  <c:v>6</c:v>
                </c:pt>
                <c:pt idx="392">
                  <c:v>1</c:v>
                </c:pt>
                <c:pt idx="393">
                  <c:v>7</c:v>
                </c:pt>
                <c:pt idx="394">
                  <c:v>2</c:v>
                </c:pt>
                <c:pt idx="395">
                  <c:v>2</c:v>
                </c:pt>
                <c:pt idx="396">
                  <c:v>1</c:v>
                </c:pt>
                <c:pt idx="397">
                  <c:v>1</c:v>
                </c:pt>
                <c:pt idx="398">
                  <c:v>6</c:v>
                </c:pt>
                <c:pt idx="399">
                  <c:v>7</c:v>
                </c:pt>
                <c:pt idx="400">
                  <c:v>10</c:v>
                </c:pt>
                <c:pt idx="401">
                  <c:v>3</c:v>
                </c:pt>
                <c:pt idx="402">
                  <c:v>27</c:v>
                </c:pt>
                <c:pt idx="403">
                  <c:v>2</c:v>
                </c:pt>
                <c:pt idx="404">
                  <c:v>0</c:v>
                </c:pt>
                <c:pt idx="405">
                  <c:v>3</c:v>
                </c:pt>
                <c:pt idx="406">
                  <c:v>4</c:v>
                </c:pt>
                <c:pt idx="407">
                  <c:v>21</c:v>
                </c:pt>
                <c:pt idx="408">
                  <c:v>6</c:v>
                </c:pt>
                <c:pt idx="409">
                  <c:v>9</c:v>
                </c:pt>
                <c:pt idx="410">
                  <c:v>2</c:v>
                </c:pt>
                <c:pt idx="411">
                  <c:v>1</c:v>
                </c:pt>
                <c:pt idx="412">
                  <c:v>18</c:v>
                </c:pt>
                <c:pt idx="413">
                  <c:v>13</c:v>
                </c:pt>
                <c:pt idx="414">
                  <c:v>15</c:v>
                </c:pt>
                <c:pt idx="415">
                  <c:v>9</c:v>
                </c:pt>
                <c:pt idx="416">
                  <c:v>17</c:v>
                </c:pt>
                <c:pt idx="417">
                  <c:v>1</c:v>
                </c:pt>
                <c:pt idx="418">
                  <c:v>5</c:v>
                </c:pt>
                <c:pt idx="419">
                  <c:v>34</c:v>
                </c:pt>
                <c:pt idx="420">
                  <c:v>15</c:v>
                </c:pt>
                <c:pt idx="421">
                  <c:v>29</c:v>
                </c:pt>
                <c:pt idx="422">
                  <c:v>3</c:v>
                </c:pt>
                <c:pt idx="423">
                  <c:v>26</c:v>
                </c:pt>
                <c:pt idx="424">
                  <c:v>12</c:v>
                </c:pt>
                <c:pt idx="425">
                  <c:v>15</c:v>
                </c:pt>
                <c:pt idx="426">
                  <c:v>76</c:v>
                </c:pt>
                <c:pt idx="427">
                  <c:v>41</c:v>
                </c:pt>
                <c:pt idx="428">
                  <c:v>37</c:v>
                </c:pt>
                <c:pt idx="429">
                  <c:v>78</c:v>
                </c:pt>
                <c:pt idx="430">
                  <c:v>50</c:v>
                </c:pt>
                <c:pt idx="431">
                  <c:v>19</c:v>
                </c:pt>
                <c:pt idx="432">
                  <c:v>10</c:v>
                </c:pt>
                <c:pt idx="433">
                  <c:v>84</c:v>
                </c:pt>
                <c:pt idx="434">
                  <c:v>59</c:v>
                </c:pt>
                <c:pt idx="435">
                  <c:v>47</c:v>
                </c:pt>
                <c:pt idx="436">
                  <c:v>57</c:v>
                </c:pt>
                <c:pt idx="437">
                  <c:v>52</c:v>
                </c:pt>
                <c:pt idx="438">
                  <c:v>33</c:v>
                </c:pt>
                <c:pt idx="439">
                  <c:v>29</c:v>
                </c:pt>
                <c:pt idx="440">
                  <c:v>102</c:v>
                </c:pt>
                <c:pt idx="441">
                  <c:v>67</c:v>
                </c:pt>
                <c:pt idx="442">
                  <c:v>39</c:v>
                </c:pt>
                <c:pt idx="443">
                  <c:v>99</c:v>
                </c:pt>
                <c:pt idx="444">
                  <c:v>137</c:v>
                </c:pt>
                <c:pt idx="445">
                  <c:v>39</c:v>
                </c:pt>
                <c:pt idx="446">
                  <c:v>16</c:v>
                </c:pt>
                <c:pt idx="447">
                  <c:v>124</c:v>
                </c:pt>
                <c:pt idx="448">
                  <c:v>68</c:v>
                </c:pt>
                <c:pt idx="449">
                  <c:v>91</c:v>
                </c:pt>
                <c:pt idx="450">
                  <c:v>78</c:v>
                </c:pt>
                <c:pt idx="451">
                  <c:v>104</c:v>
                </c:pt>
                <c:pt idx="452">
                  <c:v>27</c:v>
                </c:pt>
                <c:pt idx="453">
                  <c:v>14</c:v>
                </c:pt>
                <c:pt idx="454">
                  <c:v>88</c:v>
                </c:pt>
                <c:pt idx="455">
                  <c:v>64</c:v>
                </c:pt>
                <c:pt idx="456">
                  <c:v>74</c:v>
                </c:pt>
                <c:pt idx="457">
                  <c:v>64</c:v>
                </c:pt>
                <c:pt idx="458">
                  <c:v>44</c:v>
                </c:pt>
                <c:pt idx="459">
                  <c:v>59</c:v>
                </c:pt>
                <c:pt idx="460">
                  <c:v>17</c:v>
                </c:pt>
                <c:pt idx="461">
                  <c:v>81</c:v>
                </c:pt>
                <c:pt idx="462">
                  <c:v>58</c:v>
                </c:pt>
                <c:pt idx="463">
                  <c:v>53</c:v>
                </c:pt>
                <c:pt idx="464">
                  <c:v>57</c:v>
                </c:pt>
                <c:pt idx="465">
                  <c:v>50</c:v>
                </c:pt>
                <c:pt idx="466">
                  <c:v>19</c:v>
                </c:pt>
                <c:pt idx="467">
                  <c:v>10</c:v>
                </c:pt>
                <c:pt idx="468">
                  <c:v>53</c:v>
                </c:pt>
                <c:pt idx="469">
                  <c:v>64</c:v>
                </c:pt>
                <c:pt idx="470">
                  <c:v>44</c:v>
                </c:pt>
                <c:pt idx="471">
                  <c:v>26</c:v>
                </c:pt>
                <c:pt idx="472">
                  <c:v>28</c:v>
                </c:pt>
                <c:pt idx="473">
                  <c:v>10</c:v>
                </c:pt>
                <c:pt idx="474">
                  <c:v>13</c:v>
                </c:pt>
                <c:pt idx="475">
                  <c:v>44</c:v>
                </c:pt>
                <c:pt idx="476">
                  <c:v>21</c:v>
                </c:pt>
                <c:pt idx="477">
                  <c:v>12</c:v>
                </c:pt>
                <c:pt idx="478">
                  <c:v>9</c:v>
                </c:pt>
                <c:pt idx="479">
                  <c:v>8</c:v>
                </c:pt>
                <c:pt idx="480">
                  <c:v>8</c:v>
                </c:pt>
                <c:pt idx="481">
                  <c:v>5</c:v>
                </c:pt>
                <c:pt idx="482">
                  <c:v>20</c:v>
                </c:pt>
                <c:pt idx="483">
                  <c:v>24</c:v>
                </c:pt>
                <c:pt idx="484">
                  <c:v>16</c:v>
                </c:pt>
                <c:pt idx="485">
                  <c:v>12</c:v>
                </c:pt>
                <c:pt idx="486">
                  <c:v>16</c:v>
                </c:pt>
                <c:pt idx="487">
                  <c:v>4</c:v>
                </c:pt>
                <c:pt idx="488">
                  <c:v>4</c:v>
                </c:pt>
                <c:pt idx="489">
                  <c:v>25</c:v>
                </c:pt>
                <c:pt idx="490">
                  <c:v>20</c:v>
                </c:pt>
                <c:pt idx="491">
                  <c:v>12</c:v>
                </c:pt>
                <c:pt idx="492">
                  <c:v>16</c:v>
                </c:pt>
                <c:pt idx="493">
                  <c:v>17</c:v>
                </c:pt>
                <c:pt idx="494">
                  <c:v>4</c:v>
                </c:pt>
                <c:pt idx="495">
                  <c:v>5</c:v>
                </c:pt>
                <c:pt idx="496">
                  <c:v>19</c:v>
                </c:pt>
                <c:pt idx="497">
                  <c:v>19</c:v>
                </c:pt>
                <c:pt idx="498">
                  <c:v>13</c:v>
                </c:pt>
                <c:pt idx="499">
                  <c:v>16</c:v>
                </c:pt>
                <c:pt idx="500">
                  <c:v>20</c:v>
                </c:pt>
                <c:pt idx="501">
                  <c:v>7</c:v>
                </c:pt>
                <c:pt idx="502">
                  <c:v>15</c:v>
                </c:pt>
                <c:pt idx="503">
                  <c:v>68</c:v>
                </c:pt>
                <c:pt idx="504">
                  <c:v>48</c:v>
                </c:pt>
                <c:pt idx="505">
                  <c:v>54</c:v>
                </c:pt>
                <c:pt idx="506">
                  <c:v>70</c:v>
                </c:pt>
                <c:pt idx="507">
                  <c:v>85</c:v>
                </c:pt>
                <c:pt idx="508">
                  <c:v>52</c:v>
                </c:pt>
                <c:pt idx="509">
                  <c:v>22</c:v>
                </c:pt>
                <c:pt idx="510">
                  <c:v>141</c:v>
                </c:pt>
                <c:pt idx="511">
                  <c:v>143</c:v>
                </c:pt>
                <c:pt idx="512">
                  <c:v>139</c:v>
                </c:pt>
                <c:pt idx="513">
                  <c:v>85</c:v>
                </c:pt>
                <c:pt idx="514">
                  <c:v>119</c:v>
                </c:pt>
                <c:pt idx="515">
                  <c:v>34</c:v>
                </c:pt>
                <c:pt idx="516">
                  <c:v>37</c:v>
                </c:pt>
                <c:pt idx="517">
                  <c:v>158</c:v>
                </c:pt>
                <c:pt idx="518">
                  <c:v>170</c:v>
                </c:pt>
                <c:pt idx="519">
                  <c:v>115</c:v>
                </c:pt>
                <c:pt idx="520">
                  <c:v>92</c:v>
                </c:pt>
                <c:pt idx="521">
                  <c:v>141</c:v>
                </c:pt>
                <c:pt idx="522">
                  <c:v>52</c:v>
                </c:pt>
                <c:pt idx="523">
                  <c:v>40</c:v>
                </c:pt>
                <c:pt idx="524">
                  <c:v>222</c:v>
                </c:pt>
                <c:pt idx="525">
                  <c:v>142</c:v>
                </c:pt>
                <c:pt idx="526">
                  <c:v>94</c:v>
                </c:pt>
                <c:pt idx="527">
                  <c:v>109</c:v>
                </c:pt>
                <c:pt idx="528">
                  <c:v>116</c:v>
                </c:pt>
                <c:pt idx="529">
                  <c:v>42</c:v>
                </c:pt>
                <c:pt idx="530">
                  <c:v>43</c:v>
                </c:pt>
                <c:pt idx="531">
                  <c:v>152</c:v>
                </c:pt>
                <c:pt idx="532">
                  <c:v>129</c:v>
                </c:pt>
                <c:pt idx="533">
                  <c:v>119</c:v>
                </c:pt>
                <c:pt idx="534">
                  <c:v>122</c:v>
                </c:pt>
                <c:pt idx="535">
                  <c:v>68</c:v>
                </c:pt>
                <c:pt idx="536">
                  <c:v>32</c:v>
                </c:pt>
                <c:pt idx="537">
                  <c:v>24</c:v>
                </c:pt>
                <c:pt idx="538">
                  <c:v>104</c:v>
                </c:pt>
                <c:pt idx="539">
                  <c:v>101</c:v>
                </c:pt>
                <c:pt idx="540">
                  <c:v>87</c:v>
                </c:pt>
                <c:pt idx="541">
                  <c:v>55</c:v>
                </c:pt>
                <c:pt idx="542">
                  <c:v>66</c:v>
                </c:pt>
                <c:pt idx="543">
                  <c:v>21</c:v>
                </c:pt>
                <c:pt idx="544">
                  <c:v>17</c:v>
                </c:pt>
                <c:pt idx="545">
                  <c:v>84</c:v>
                </c:pt>
                <c:pt idx="546">
                  <c:v>56</c:v>
                </c:pt>
                <c:pt idx="547">
                  <c:v>58</c:v>
                </c:pt>
                <c:pt idx="548">
                  <c:v>36</c:v>
                </c:pt>
                <c:pt idx="549">
                  <c:v>34</c:v>
                </c:pt>
                <c:pt idx="550">
                  <c:v>22</c:v>
                </c:pt>
                <c:pt idx="551">
                  <c:v>12</c:v>
                </c:pt>
                <c:pt idx="552">
                  <c:v>75</c:v>
                </c:pt>
                <c:pt idx="553">
                  <c:v>79</c:v>
                </c:pt>
                <c:pt idx="554">
                  <c:v>55</c:v>
                </c:pt>
                <c:pt idx="555">
                  <c:v>40</c:v>
                </c:pt>
                <c:pt idx="556">
                  <c:v>54</c:v>
                </c:pt>
                <c:pt idx="557" formatCode="General">
                  <c:v>13</c:v>
                </c:pt>
                <c:pt idx="558" formatCode="General">
                  <c:v>8</c:v>
                </c:pt>
                <c:pt idx="559" formatCode="General">
                  <c:v>49</c:v>
                </c:pt>
                <c:pt idx="560" formatCode="General">
                  <c:v>64</c:v>
                </c:pt>
                <c:pt idx="561" formatCode="General">
                  <c:v>43</c:v>
                </c:pt>
                <c:pt idx="562" formatCode="General">
                  <c:v>28</c:v>
                </c:pt>
                <c:pt idx="563" formatCode="General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C0-4B0C-A220-7796AA6DA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411505068434053E-2"/>
          <c:y val="2.6442228452657451E-2"/>
          <c:w val="0.92286884437605277"/>
          <c:h val="0.825277630035093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mrti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565</c:f>
              <c:numCache>
                <c:formatCode>m/d/yyyy</c:formatCode>
                <c:ptCount val="56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</c:numCache>
            </c:numRef>
          </c:cat>
          <c:val>
            <c:numRef>
              <c:f>Sheet1!$B$2:$B$565</c:f>
              <c:numCache>
                <c:formatCode>#\ ##0_ ;\-#\ ##0\ </c:formatCode>
                <c:ptCount val="56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6</c:v>
                </c:pt>
                <c:pt idx="36">
                  <c:v>5</c:v>
                </c:pt>
                <c:pt idx="37">
                  <c:v>4</c:v>
                </c:pt>
                <c:pt idx="38">
                  <c:v>9</c:v>
                </c:pt>
                <c:pt idx="39">
                  <c:v>6</c:v>
                </c:pt>
                <c:pt idx="40">
                  <c:v>1</c:v>
                </c:pt>
                <c:pt idx="41">
                  <c:v>11</c:v>
                </c:pt>
                <c:pt idx="42">
                  <c:v>9</c:v>
                </c:pt>
                <c:pt idx="43">
                  <c:v>12</c:v>
                </c:pt>
                <c:pt idx="44">
                  <c:v>7</c:v>
                </c:pt>
                <c:pt idx="45">
                  <c:v>8</c:v>
                </c:pt>
                <c:pt idx="46">
                  <c:v>7</c:v>
                </c:pt>
                <c:pt idx="47">
                  <c:v>17</c:v>
                </c:pt>
                <c:pt idx="48">
                  <c:v>20</c:v>
                </c:pt>
                <c:pt idx="49">
                  <c:v>13</c:v>
                </c:pt>
                <c:pt idx="50">
                  <c:v>28</c:v>
                </c:pt>
                <c:pt idx="51">
                  <c:v>17</c:v>
                </c:pt>
                <c:pt idx="52">
                  <c:v>15</c:v>
                </c:pt>
                <c:pt idx="53">
                  <c:v>21</c:v>
                </c:pt>
                <c:pt idx="54">
                  <c:v>25</c:v>
                </c:pt>
                <c:pt idx="55">
                  <c:v>34</c:v>
                </c:pt>
                <c:pt idx="56">
                  <c:v>42</c:v>
                </c:pt>
                <c:pt idx="57">
                  <c:v>27</c:v>
                </c:pt>
                <c:pt idx="58">
                  <c:v>45</c:v>
                </c:pt>
                <c:pt idx="59">
                  <c:v>36</c:v>
                </c:pt>
                <c:pt idx="60">
                  <c:v>46</c:v>
                </c:pt>
                <c:pt idx="61">
                  <c:v>47</c:v>
                </c:pt>
                <c:pt idx="62">
                  <c:v>52</c:v>
                </c:pt>
                <c:pt idx="63">
                  <c:v>48</c:v>
                </c:pt>
                <c:pt idx="64">
                  <c:v>54</c:v>
                </c:pt>
                <c:pt idx="65">
                  <c:v>42</c:v>
                </c:pt>
                <c:pt idx="66">
                  <c:v>44</c:v>
                </c:pt>
                <c:pt idx="67">
                  <c:v>42</c:v>
                </c:pt>
                <c:pt idx="68">
                  <c:v>40</c:v>
                </c:pt>
                <c:pt idx="69">
                  <c:v>38</c:v>
                </c:pt>
                <c:pt idx="70">
                  <c:v>44</c:v>
                </c:pt>
                <c:pt idx="71">
                  <c:v>42</c:v>
                </c:pt>
                <c:pt idx="72">
                  <c:v>48</c:v>
                </c:pt>
                <c:pt idx="73">
                  <c:v>47</c:v>
                </c:pt>
                <c:pt idx="74">
                  <c:v>37</c:v>
                </c:pt>
                <c:pt idx="75">
                  <c:v>25</c:v>
                </c:pt>
                <c:pt idx="76">
                  <c:v>35</c:v>
                </c:pt>
                <c:pt idx="77">
                  <c:v>41</c:v>
                </c:pt>
                <c:pt idx="78">
                  <c:v>40</c:v>
                </c:pt>
                <c:pt idx="79">
                  <c:v>37</c:v>
                </c:pt>
                <c:pt idx="80">
                  <c:v>34</c:v>
                </c:pt>
                <c:pt idx="81">
                  <c:v>39</c:v>
                </c:pt>
                <c:pt idx="82">
                  <c:v>29</c:v>
                </c:pt>
                <c:pt idx="83">
                  <c:v>36</c:v>
                </c:pt>
                <c:pt idx="84">
                  <c:v>41</c:v>
                </c:pt>
                <c:pt idx="85">
                  <c:v>27</c:v>
                </c:pt>
                <c:pt idx="86">
                  <c:v>36</c:v>
                </c:pt>
                <c:pt idx="87">
                  <c:v>31</c:v>
                </c:pt>
                <c:pt idx="88">
                  <c:v>31</c:v>
                </c:pt>
                <c:pt idx="89">
                  <c:v>27</c:v>
                </c:pt>
                <c:pt idx="90">
                  <c:v>41</c:v>
                </c:pt>
                <c:pt idx="91">
                  <c:v>24</c:v>
                </c:pt>
                <c:pt idx="92">
                  <c:v>25</c:v>
                </c:pt>
                <c:pt idx="93">
                  <c:v>20</c:v>
                </c:pt>
                <c:pt idx="94">
                  <c:v>20</c:v>
                </c:pt>
                <c:pt idx="95">
                  <c:v>30</c:v>
                </c:pt>
                <c:pt idx="96">
                  <c:v>17</c:v>
                </c:pt>
                <c:pt idx="97">
                  <c:v>21</c:v>
                </c:pt>
                <c:pt idx="98">
                  <c:v>19</c:v>
                </c:pt>
                <c:pt idx="99">
                  <c:v>16</c:v>
                </c:pt>
                <c:pt idx="100">
                  <c:v>25</c:v>
                </c:pt>
                <c:pt idx="101">
                  <c:v>19</c:v>
                </c:pt>
                <c:pt idx="102">
                  <c:v>25</c:v>
                </c:pt>
                <c:pt idx="103">
                  <c:v>18</c:v>
                </c:pt>
                <c:pt idx="104">
                  <c:v>23</c:v>
                </c:pt>
                <c:pt idx="105">
                  <c:v>26</c:v>
                </c:pt>
                <c:pt idx="106">
                  <c:v>25</c:v>
                </c:pt>
                <c:pt idx="107">
                  <c:v>30</c:v>
                </c:pt>
                <c:pt idx="108">
                  <c:v>22</c:v>
                </c:pt>
                <c:pt idx="109">
                  <c:v>11</c:v>
                </c:pt>
                <c:pt idx="110">
                  <c:v>11</c:v>
                </c:pt>
                <c:pt idx="111">
                  <c:v>34</c:v>
                </c:pt>
                <c:pt idx="112">
                  <c:v>19</c:v>
                </c:pt>
                <c:pt idx="113">
                  <c:v>22</c:v>
                </c:pt>
                <c:pt idx="114">
                  <c:v>14</c:v>
                </c:pt>
                <c:pt idx="115">
                  <c:v>21</c:v>
                </c:pt>
                <c:pt idx="116">
                  <c:v>20</c:v>
                </c:pt>
                <c:pt idx="117">
                  <c:v>11</c:v>
                </c:pt>
                <c:pt idx="118">
                  <c:v>25</c:v>
                </c:pt>
                <c:pt idx="119">
                  <c:v>13</c:v>
                </c:pt>
                <c:pt idx="120">
                  <c:v>14</c:v>
                </c:pt>
                <c:pt idx="121">
                  <c:v>13</c:v>
                </c:pt>
                <c:pt idx="122">
                  <c:v>14</c:v>
                </c:pt>
                <c:pt idx="123">
                  <c:v>24</c:v>
                </c:pt>
                <c:pt idx="124">
                  <c:v>19</c:v>
                </c:pt>
                <c:pt idx="125">
                  <c:v>20</c:v>
                </c:pt>
                <c:pt idx="126">
                  <c:v>20</c:v>
                </c:pt>
                <c:pt idx="127">
                  <c:v>23</c:v>
                </c:pt>
                <c:pt idx="128">
                  <c:v>15</c:v>
                </c:pt>
                <c:pt idx="129">
                  <c:v>21</c:v>
                </c:pt>
                <c:pt idx="130">
                  <c:v>13</c:v>
                </c:pt>
                <c:pt idx="131">
                  <c:v>14</c:v>
                </c:pt>
                <c:pt idx="132">
                  <c:v>21</c:v>
                </c:pt>
                <c:pt idx="133">
                  <c:v>20</c:v>
                </c:pt>
                <c:pt idx="134">
                  <c:v>17</c:v>
                </c:pt>
                <c:pt idx="135">
                  <c:v>23</c:v>
                </c:pt>
                <c:pt idx="136">
                  <c:v>21</c:v>
                </c:pt>
                <c:pt idx="137">
                  <c:v>17</c:v>
                </c:pt>
                <c:pt idx="138">
                  <c:v>18</c:v>
                </c:pt>
                <c:pt idx="139">
                  <c:v>22</c:v>
                </c:pt>
                <c:pt idx="140">
                  <c:v>19</c:v>
                </c:pt>
                <c:pt idx="141">
                  <c:v>17</c:v>
                </c:pt>
                <c:pt idx="142">
                  <c:v>14</c:v>
                </c:pt>
                <c:pt idx="143">
                  <c:v>15</c:v>
                </c:pt>
                <c:pt idx="144">
                  <c:v>10</c:v>
                </c:pt>
                <c:pt idx="145">
                  <c:v>13</c:v>
                </c:pt>
                <c:pt idx="146">
                  <c:v>10</c:v>
                </c:pt>
                <c:pt idx="147">
                  <c:v>17</c:v>
                </c:pt>
                <c:pt idx="148">
                  <c:v>14</c:v>
                </c:pt>
                <c:pt idx="149">
                  <c:v>16</c:v>
                </c:pt>
                <c:pt idx="150">
                  <c:v>16</c:v>
                </c:pt>
                <c:pt idx="151">
                  <c:v>11</c:v>
                </c:pt>
                <c:pt idx="152">
                  <c:v>11</c:v>
                </c:pt>
                <c:pt idx="153">
                  <c:v>15</c:v>
                </c:pt>
                <c:pt idx="154">
                  <c:v>9</c:v>
                </c:pt>
                <c:pt idx="155">
                  <c:v>9</c:v>
                </c:pt>
                <c:pt idx="156">
                  <c:v>12</c:v>
                </c:pt>
                <c:pt idx="157">
                  <c:v>10</c:v>
                </c:pt>
                <c:pt idx="158">
                  <c:v>8</c:v>
                </c:pt>
                <c:pt idx="159">
                  <c:v>7</c:v>
                </c:pt>
                <c:pt idx="160">
                  <c:v>7</c:v>
                </c:pt>
                <c:pt idx="161">
                  <c:v>9</c:v>
                </c:pt>
                <c:pt idx="162">
                  <c:v>7</c:v>
                </c:pt>
                <c:pt idx="163">
                  <c:v>8</c:v>
                </c:pt>
                <c:pt idx="164">
                  <c:v>12</c:v>
                </c:pt>
                <c:pt idx="165">
                  <c:v>9</c:v>
                </c:pt>
                <c:pt idx="166">
                  <c:v>12</c:v>
                </c:pt>
                <c:pt idx="167">
                  <c:v>12</c:v>
                </c:pt>
                <c:pt idx="168">
                  <c:v>6</c:v>
                </c:pt>
                <c:pt idx="169">
                  <c:v>6</c:v>
                </c:pt>
                <c:pt idx="170">
                  <c:v>4</c:v>
                </c:pt>
                <c:pt idx="171">
                  <c:v>6</c:v>
                </c:pt>
                <c:pt idx="172">
                  <c:v>6</c:v>
                </c:pt>
                <c:pt idx="173">
                  <c:v>5</c:v>
                </c:pt>
                <c:pt idx="174">
                  <c:v>8</c:v>
                </c:pt>
                <c:pt idx="175">
                  <c:v>6</c:v>
                </c:pt>
                <c:pt idx="176">
                  <c:v>5</c:v>
                </c:pt>
                <c:pt idx="177">
                  <c:v>7</c:v>
                </c:pt>
                <c:pt idx="178">
                  <c:v>4</c:v>
                </c:pt>
                <c:pt idx="179">
                  <c:v>6</c:v>
                </c:pt>
                <c:pt idx="180">
                  <c:v>5</c:v>
                </c:pt>
                <c:pt idx="181">
                  <c:v>14</c:v>
                </c:pt>
                <c:pt idx="182">
                  <c:v>16</c:v>
                </c:pt>
                <c:pt idx="183">
                  <c:v>7</c:v>
                </c:pt>
                <c:pt idx="184">
                  <c:v>4</c:v>
                </c:pt>
                <c:pt idx="185">
                  <c:v>6</c:v>
                </c:pt>
                <c:pt idx="186">
                  <c:v>9</c:v>
                </c:pt>
                <c:pt idx="187">
                  <c:v>4</c:v>
                </c:pt>
                <c:pt idx="188">
                  <c:v>5</c:v>
                </c:pt>
                <c:pt idx="189">
                  <c:v>5</c:v>
                </c:pt>
                <c:pt idx="190">
                  <c:v>6</c:v>
                </c:pt>
                <c:pt idx="191">
                  <c:v>2</c:v>
                </c:pt>
                <c:pt idx="192">
                  <c:v>6</c:v>
                </c:pt>
                <c:pt idx="193">
                  <c:v>5</c:v>
                </c:pt>
                <c:pt idx="194">
                  <c:v>6</c:v>
                </c:pt>
                <c:pt idx="195">
                  <c:v>8</c:v>
                </c:pt>
                <c:pt idx="196">
                  <c:v>9</c:v>
                </c:pt>
                <c:pt idx="197">
                  <c:v>5</c:v>
                </c:pt>
                <c:pt idx="198">
                  <c:v>6</c:v>
                </c:pt>
                <c:pt idx="199">
                  <c:v>1</c:v>
                </c:pt>
                <c:pt idx="200">
                  <c:v>5</c:v>
                </c:pt>
                <c:pt idx="201">
                  <c:v>7</c:v>
                </c:pt>
                <c:pt idx="202">
                  <c:v>5</c:v>
                </c:pt>
                <c:pt idx="203">
                  <c:v>2</c:v>
                </c:pt>
                <c:pt idx="204">
                  <c:v>3</c:v>
                </c:pt>
                <c:pt idx="205">
                  <c:v>3</c:v>
                </c:pt>
                <c:pt idx="206">
                  <c:v>4</c:v>
                </c:pt>
                <c:pt idx="207">
                  <c:v>2</c:v>
                </c:pt>
                <c:pt idx="208">
                  <c:v>1</c:v>
                </c:pt>
                <c:pt idx="209">
                  <c:v>3</c:v>
                </c:pt>
                <c:pt idx="210">
                  <c:v>2</c:v>
                </c:pt>
                <c:pt idx="211">
                  <c:v>2</c:v>
                </c:pt>
                <c:pt idx="212">
                  <c:v>1</c:v>
                </c:pt>
                <c:pt idx="213">
                  <c:v>2</c:v>
                </c:pt>
                <c:pt idx="214">
                  <c:v>1</c:v>
                </c:pt>
                <c:pt idx="215">
                  <c:v>2</c:v>
                </c:pt>
                <c:pt idx="216">
                  <c:v>3</c:v>
                </c:pt>
                <c:pt idx="217">
                  <c:v>2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2</c:v>
                </c:pt>
                <c:pt idx="223">
                  <c:v>0</c:v>
                </c:pt>
                <c:pt idx="224">
                  <c:v>2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1</c:v>
                </c:pt>
                <c:pt idx="230">
                  <c:v>1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2</c:v>
                </c:pt>
                <c:pt idx="235">
                  <c:v>1</c:v>
                </c:pt>
                <c:pt idx="236">
                  <c:v>1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2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2</c:v>
                </c:pt>
                <c:pt idx="256">
                  <c:v>0</c:v>
                </c:pt>
                <c:pt idx="257">
                  <c:v>0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2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</c:v>
                </c:pt>
                <c:pt idx="409">
                  <c:v>0</c:v>
                </c:pt>
                <c:pt idx="410">
                  <c:v>0</c:v>
                </c:pt>
                <c:pt idx="411">
                  <c:v>2</c:v>
                </c:pt>
                <c:pt idx="412">
                  <c:v>2</c:v>
                </c:pt>
                <c:pt idx="413">
                  <c:v>0</c:v>
                </c:pt>
                <c:pt idx="414">
                  <c:v>0</c:v>
                </c:pt>
                <c:pt idx="415">
                  <c:v>1</c:v>
                </c:pt>
                <c:pt idx="416">
                  <c:v>0</c:v>
                </c:pt>
                <c:pt idx="417">
                  <c:v>0</c:v>
                </c:pt>
                <c:pt idx="418">
                  <c:v>1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3</c:v>
                </c:pt>
                <c:pt idx="424">
                  <c:v>1</c:v>
                </c:pt>
                <c:pt idx="425">
                  <c:v>0</c:v>
                </c:pt>
                <c:pt idx="426">
                  <c:v>1</c:v>
                </c:pt>
                <c:pt idx="427">
                  <c:v>2</c:v>
                </c:pt>
                <c:pt idx="428">
                  <c:v>0</c:v>
                </c:pt>
                <c:pt idx="429">
                  <c:v>2</c:v>
                </c:pt>
                <c:pt idx="430">
                  <c:v>7</c:v>
                </c:pt>
                <c:pt idx="431">
                  <c:v>5</c:v>
                </c:pt>
                <c:pt idx="432">
                  <c:v>3</c:v>
                </c:pt>
                <c:pt idx="433">
                  <c:v>5</c:v>
                </c:pt>
                <c:pt idx="434">
                  <c:v>4</c:v>
                </c:pt>
                <c:pt idx="435">
                  <c:v>3</c:v>
                </c:pt>
                <c:pt idx="436">
                  <c:v>3</c:v>
                </c:pt>
                <c:pt idx="437">
                  <c:v>3</c:v>
                </c:pt>
                <c:pt idx="438">
                  <c:v>4</c:v>
                </c:pt>
                <c:pt idx="439">
                  <c:v>5</c:v>
                </c:pt>
                <c:pt idx="440">
                  <c:v>4</c:v>
                </c:pt>
                <c:pt idx="441">
                  <c:v>1</c:v>
                </c:pt>
                <c:pt idx="442">
                  <c:v>1</c:v>
                </c:pt>
                <c:pt idx="443">
                  <c:v>3</c:v>
                </c:pt>
                <c:pt idx="444">
                  <c:v>4</c:v>
                </c:pt>
                <c:pt idx="445">
                  <c:v>4</c:v>
                </c:pt>
                <c:pt idx="446">
                  <c:v>3</c:v>
                </c:pt>
                <c:pt idx="447">
                  <c:v>3</c:v>
                </c:pt>
                <c:pt idx="448">
                  <c:v>6</c:v>
                </c:pt>
                <c:pt idx="449">
                  <c:v>3</c:v>
                </c:pt>
                <c:pt idx="450">
                  <c:v>3</c:v>
                </c:pt>
                <c:pt idx="451">
                  <c:v>12</c:v>
                </c:pt>
                <c:pt idx="452">
                  <c:v>4</c:v>
                </c:pt>
                <c:pt idx="453">
                  <c:v>5</c:v>
                </c:pt>
                <c:pt idx="454">
                  <c:v>4</c:v>
                </c:pt>
                <c:pt idx="455">
                  <c:v>6</c:v>
                </c:pt>
                <c:pt idx="456">
                  <c:v>4</c:v>
                </c:pt>
                <c:pt idx="457">
                  <c:v>0</c:v>
                </c:pt>
                <c:pt idx="458">
                  <c:v>0</c:v>
                </c:pt>
                <c:pt idx="459">
                  <c:v>2</c:v>
                </c:pt>
                <c:pt idx="460">
                  <c:v>5</c:v>
                </c:pt>
                <c:pt idx="461">
                  <c:v>4</c:v>
                </c:pt>
                <c:pt idx="462">
                  <c:v>3</c:v>
                </c:pt>
                <c:pt idx="463">
                  <c:v>5</c:v>
                </c:pt>
                <c:pt idx="464">
                  <c:v>4</c:v>
                </c:pt>
                <c:pt idx="465">
                  <c:v>2</c:v>
                </c:pt>
                <c:pt idx="466">
                  <c:v>2</c:v>
                </c:pt>
                <c:pt idx="467">
                  <c:v>2</c:v>
                </c:pt>
                <c:pt idx="468">
                  <c:v>1</c:v>
                </c:pt>
                <c:pt idx="469">
                  <c:v>3</c:v>
                </c:pt>
                <c:pt idx="470">
                  <c:v>2</c:v>
                </c:pt>
                <c:pt idx="471">
                  <c:v>5</c:v>
                </c:pt>
                <c:pt idx="472">
                  <c:v>6</c:v>
                </c:pt>
                <c:pt idx="473">
                  <c:v>1</c:v>
                </c:pt>
                <c:pt idx="474">
                  <c:v>1</c:v>
                </c:pt>
                <c:pt idx="475">
                  <c:v>5</c:v>
                </c:pt>
                <c:pt idx="476">
                  <c:v>0</c:v>
                </c:pt>
                <c:pt idx="477">
                  <c:v>0</c:v>
                </c:pt>
                <c:pt idx="478">
                  <c:v>1</c:v>
                </c:pt>
                <c:pt idx="479">
                  <c:v>1</c:v>
                </c:pt>
                <c:pt idx="480">
                  <c:v>4</c:v>
                </c:pt>
                <c:pt idx="481">
                  <c:v>1</c:v>
                </c:pt>
                <c:pt idx="482">
                  <c:v>0</c:v>
                </c:pt>
                <c:pt idx="483">
                  <c:v>2</c:v>
                </c:pt>
                <c:pt idx="484">
                  <c:v>1</c:v>
                </c:pt>
                <c:pt idx="485">
                  <c:v>4</c:v>
                </c:pt>
                <c:pt idx="486">
                  <c:v>0</c:v>
                </c:pt>
                <c:pt idx="487">
                  <c:v>2</c:v>
                </c:pt>
                <c:pt idx="488">
                  <c:v>0</c:v>
                </c:pt>
                <c:pt idx="489">
                  <c:v>0</c:v>
                </c:pt>
                <c:pt idx="490">
                  <c:v>3</c:v>
                </c:pt>
                <c:pt idx="491">
                  <c:v>0</c:v>
                </c:pt>
                <c:pt idx="492">
                  <c:v>3</c:v>
                </c:pt>
                <c:pt idx="493">
                  <c:v>1</c:v>
                </c:pt>
                <c:pt idx="494">
                  <c:v>0</c:v>
                </c:pt>
                <c:pt idx="495">
                  <c:v>1</c:v>
                </c:pt>
                <c:pt idx="496">
                  <c:v>0</c:v>
                </c:pt>
                <c:pt idx="497">
                  <c:v>1</c:v>
                </c:pt>
                <c:pt idx="498">
                  <c:v>1</c:v>
                </c:pt>
                <c:pt idx="499">
                  <c:v>0</c:v>
                </c:pt>
                <c:pt idx="500">
                  <c:v>1</c:v>
                </c:pt>
                <c:pt idx="501">
                  <c:v>0</c:v>
                </c:pt>
                <c:pt idx="502">
                  <c:v>1</c:v>
                </c:pt>
                <c:pt idx="503">
                  <c:v>1</c:v>
                </c:pt>
                <c:pt idx="504">
                  <c:v>0</c:v>
                </c:pt>
                <c:pt idx="505">
                  <c:v>0</c:v>
                </c:pt>
                <c:pt idx="506">
                  <c:v>3</c:v>
                </c:pt>
                <c:pt idx="507">
                  <c:v>1</c:v>
                </c:pt>
                <c:pt idx="508">
                  <c:v>1</c:v>
                </c:pt>
                <c:pt idx="509">
                  <c:v>3</c:v>
                </c:pt>
                <c:pt idx="510">
                  <c:v>0</c:v>
                </c:pt>
                <c:pt idx="511">
                  <c:v>1</c:v>
                </c:pt>
                <c:pt idx="512">
                  <c:v>0</c:v>
                </c:pt>
                <c:pt idx="513">
                  <c:v>1</c:v>
                </c:pt>
                <c:pt idx="514">
                  <c:v>1</c:v>
                </c:pt>
                <c:pt idx="515">
                  <c:v>2</c:v>
                </c:pt>
                <c:pt idx="516">
                  <c:v>0</c:v>
                </c:pt>
                <c:pt idx="517">
                  <c:v>1</c:v>
                </c:pt>
                <c:pt idx="518">
                  <c:v>5</c:v>
                </c:pt>
                <c:pt idx="519">
                  <c:v>2</c:v>
                </c:pt>
                <c:pt idx="520">
                  <c:v>2</c:v>
                </c:pt>
                <c:pt idx="521">
                  <c:v>1</c:v>
                </c:pt>
                <c:pt idx="522">
                  <c:v>4</c:v>
                </c:pt>
                <c:pt idx="523">
                  <c:v>0</c:v>
                </c:pt>
                <c:pt idx="524">
                  <c:v>3</c:v>
                </c:pt>
                <c:pt idx="525">
                  <c:v>3</c:v>
                </c:pt>
                <c:pt idx="526">
                  <c:v>2</c:v>
                </c:pt>
                <c:pt idx="527">
                  <c:v>1</c:v>
                </c:pt>
                <c:pt idx="528">
                  <c:v>2</c:v>
                </c:pt>
                <c:pt idx="529">
                  <c:v>3</c:v>
                </c:pt>
                <c:pt idx="530">
                  <c:v>1</c:v>
                </c:pt>
                <c:pt idx="531">
                  <c:v>3</c:v>
                </c:pt>
                <c:pt idx="532">
                  <c:v>3</c:v>
                </c:pt>
                <c:pt idx="533">
                  <c:v>3</c:v>
                </c:pt>
                <c:pt idx="534">
                  <c:v>2</c:v>
                </c:pt>
                <c:pt idx="535">
                  <c:v>3</c:v>
                </c:pt>
                <c:pt idx="536">
                  <c:v>1</c:v>
                </c:pt>
                <c:pt idx="537">
                  <c:v>4</c:v>
                </c:pt>
                <c:pt idx="538">
                  <c:v>4</c:v>
                </c:pt>
                <c:pt idx="539">
                  <c:v>2</c:v>
                </c:pt>
                <c:pt idx="540">
                  <c:v>2</c:v>
                </c:pt>
                <c:pt idx="541">
                  <c:v>2</c:v>
                </c:pt>
                <c:pt idx="542">
                  <c:v>3</c:v>
                </c:pt>
                <c:pt idx="543">
                  <c:v>2</c:v>
                </c:pt>
                <c:pt idx="544">
                  <c:v>1</c:v>
                </c:pt>
                <c:pt idx="545">
                  <c:v>3</c:v>
                </c:pt>
                <c:pt idx="546">
                  <c:v>3</c:v>
                </c:pt>
                <c:pt idx="547">
                  <c:v>3</c:v>
                </c:pt>
                <c:pt idx="548">
                  <c:v>4</c:v>
                </c:pt>
                <c:pt idx="549">
                  <c:v>3</c:v>
                </c:pt>
                <c:pt idx="550">
                  <c:v>1</c:v>
                </c:pt>
                <c:pt idx="551">
                  <c:v>1</c:v>
                </c:pt>
                <c:pt idx="552">
                  <c:v>1</c:v>
                </c:pt>
                <c:pt idx="553">
                  <c:v>5</c:v>
                </c:pt>
                <c:pt idx="554">
                  <c:v>2</c:v>
                </c:pt>
                <c:pt idx="555">
                  <c:v>5</c:v>
                </c:pt>
                <c:pt idx="556">
                  <c:v>0</c:v>
                </c:pt>
                <c:pt idx="557">
                  <c:v>1</c:v>
                </c:pt>
                <c:pt idx="558">
                  <c:v>1</c:v>
                </c:pt>
                <c:pt idx="559">
                  <c:v>1</c:v>
                </c:pt>
                <c:pt idx="560">
                  <c:v>3</c:v>
                </c:pt>
                <c:pt idx="561">
                  <c:v>1</c:v>
                </c:pt>
                <c:pt idx="562">
                  <c:v>0</c:v>
                </c:pt>
                <c:pt idx="56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151905390317288E-2"/>
          <c:y val="3.5493880780117011E-2"/>
          <c:w val="0.9259736925366634"/>
          <c:h val="0.80491141229830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85</c:f>
              <c:numCache>
                <c:formatCode>m/d/yyyy</c:formatCode>
                <c:ptCount val="484"/>
                <c:pt idx="1">
                  <c:v>44075</c:v>
                </c:pt>
                <c:pt idx="2">
                  <c:v>44078</c:v>
                </c:pt>
                <c:pt idx="3">
                  <c:v>44082</c:v>
                </c:pt>
                <c:pt idx="4">
                  <c:v>44083</c:v>
                </c:pt>
                <c:pt idx="5">
                  <c:v>44084</c:v>
                </c:pt>
                <c:pt idx="6">
                  <c:v>44085</c:v>
                </c:pt>
                <c:pt idx="7">
                  <c:v>44086</c:v>
                </c:pt>
                <c:pt idx="8">
                  <c:v>44087</c:v>
                </c:pt>
                <c:pt idx="9">
                  <c:v>44088</c:v>
                </c:pt>
                <c:pt idx="10">
                  <c:v>44089</c:v>
                </c:pt>
                <c:pt idx="11">
                  <c:v>44090</c:v>
                </c:pt>
                <c:pt idx="12">
                  <c:v>44091</c:v>
                </c:pt>
                <c:pt idx="13">
                  <c:v>44092</c:v>
                </c:pt>
                <c:pt idx="14">
                  <c:v>44093</c:v>
                </c:pt>
                <c:pt idx="15">
                  <c:v>44094</c:v>
                </c:pt>
                <c:pt idx="16">
                  <c:v>44095</c:v>
                </c:pt>
                <c:pt idx="17">
                  <c:v>44096</c:v>
                </c:pt>
                <c:pt idx="18">
                  <c:v>44097</c:v>
                </c:pt>
                <c:pt idx="19">
                  <c:v>44098</c:v>
                </c:pt>
                <c:pt idx="20">
                  <c:v>44099</c:v>
                </c:pt>
                <c:pt idx="21">
                  <c:v>44100</c:v>
                </c:pt>
                <c:pt idx="22">
                  <c:v>44101</c:v>
                </c:pt>
                <c:pt idx="23">
                  <c:v>44102</c:v>
                </c:pt>
                <c:pt idx="24">
                  <c:v>44103</c:v>
                </c:pt>
                <c:pt idx="25">
                  <c:v>44104</c:v>
                </c:pt>
                <c:pt idx="26">
                  <c:v>44105</c:v>
                </c:pt>
                <c:pt idx="27">
                  <c:v>44106</c:v>
                </c:pt>
                <c:pt idx="28">
                  <c:v>44107</c:v>
                </c:pt>
                <c:pt idx="29">
                  <c:v>44108</c:v>
                </c:pt>
                <c:pt idx="30">
                  <c:v>44109</c:v>
                </c:pt>
                <c:pt idx="31">
                  <c:v>44110</c:v>
                </c:pt>
                <c:pt idx="32">
                  <c:v>44111</c:v>
                </c:pt>
                <c:pt idx="33">
                  <c:v>44112</c:v>
                </c:pt>
                <c:pt idx="34">
                  <c:v>44113</c:v>
                </c:pt>
                <c:pt idx="35">
                  <c:v>44114</c:v>
                </c:pt>
                <c:pt idx="36">
                  <c:v>44115</c:v>
                </c:pt>
                <c:pt idx="37">
                  <c:v>44116</c:v>
                </c:pt>
                <c:pt idx="38">
                  <c:v>44117</c:v>
                </c:pt>
                <c:pt idx="39">
                  <c:v>44118</c:v>
                </c:pt>
                <c:pt idx="40">
                  <c:v>44119</c:v>
                </c:pt>
                <c:pt idx="41">
                  <c:v>44120</c:v>
                </c:pt>
                <c:pt idx="42">
                  <c:v>44121</c:v>
                </c:pt>
                <c:pt idx="43">
                  <c:v>44122</c:v>
                </c:pt>
                <c:pt idx="44">
                  <c:v>44123</c:v>
                </c:pt>
                <c:pt idx="45">
                  <c:v>44124</c:v>
                </c:pt>
                <c:pt idx="46">
                  <c:v>44125</c:v>
                </c:pt>
                <c:pt idx="47">
                  <c:v>44126</c:v>
                </c:pt>
                <c:pt idx="48">
                  <c:v>44127</c:v>
                </c:pt>
                <c:pt idx="49">
                  <c:v>44128</c:v>
                </c:pt>
                <c:pt idx="50">
                  <c:v>44129</c:v>
                </c:pt>
                <c:pt idx="51">
                  <c:v>44130</c:v>
                </c:pt>
                <c:pt idx="52">
                  <c:v>44131</c:v>
                </c:pt>
                <c:pt idx="53">
                  <c:v>44132</c:v>
                </c:pt>
                <c:pt idx="54">
                  <c:v>44133</c:v>
                </c:pt>
                <c:pt idx="55">
                  <c:v>44134</c:v>
                </c:pt>
                <c:pt idx="56">
                  <c:v>44135</c:v>
                </c:pt>
                <c:pt idx="57">
                  <c:v>44136</c:v>
                </c:pt>
                <c:pt idx="58">
                  <c:v>44137</c:v>
                </c:pt>
                <c:pt idx="59">
                  <c:v>44138</c:v>
                </c:pt>
                <c:pt idx="60">
                  <c:v>44139</c:v>
                </c:pt>
                <c:pt idx="61">
                  <c:v>44140</c:v>
                </c:pt>
                <c:pt idx="62">
                  <c:v>44141</c:v>
                </c:pt>
                <c:pt idx="63">
                  <c:v>44142</c:v>
                </c:pt>
                <c:pt idx="64">
                  <c:v>44143</c:v>
                </c:pt>
                <c:pt idx="65">
                  <c:v>44144</c:v>
                </c:pt>
                <c:pt idx="66">
                  <c:v>44145</c:v>
                </c:pt>
                <c:pt idx="67">
                  <c:v>44146</c:v>
                </c:pt>
                <c:pt idx="68">
                  <c:v>44147</c:v>
                </c:pt>
                <c:pt idx="69">
                  <c:v>44148</c:v>
                </c:pt>
                <c:pt idx="70">
                  <c:v>44149</c:v>
                </c:pt>
                <c:pt idx="71">
                  <c:v>44150</c:v>
                </c:pt>
                <c:pt idx="72">
                  <c:v>44151</c:v>
                </c:pt>
                <c:pt idx="73">
                  <c:v>44152</c:v>
                </c:pt>
                <c:pt idx="74">
                  <c:v>44153</c:v>
                </c:pt>
                <c:pt idx="75">
                  <c:v>44154</c:v>
                </c:pt>
                <c:pt idx="76">
                  <c:v>44155</c:v>
                </c:pt>
                <c:pt idx="77">
                  <c:v>44156</c:v>
                </c:pt>
                <c:pt idx="78">
                  <c:v>44157</c:v>
                </c:pt>
                <c:pt idx="79">
                  <c:v>44158</c:v>
                </c:pt>
                <c:pt idx="80">
                  <c:v>44159</c:v>
                </c:pt>
                <c:pt idx="81">
                  <c:v>44160</c:v>
                </c:pt>
                <c:pt idx="82">
                  <c:v>44161</c:v>
                </c:pt>
                <c:pt idx="83">
                  <c:v>44162</c:v>
                </c:pt>
                <c:pt idx="84">
                  <c:v>44163</c:v>
                </c:pt>
                <c:pt idx="85">
                  <c:v>44164</c:v>
                </c:pt>
                <c:pt idx="86">
                  <c:v>44165</c:v>
                </c:pt>
                <c:pt idx="87">
                  <c:v>44166</c:v>
                </c:pt>
                <c:pt idx="88">
                  <c:v>44167</c:v>
                </c:pt>
                <c:pt idx="89">
                  <c:v>44168</c:v>
                </c:pt>
                <c:pt idx="90">
                  <c:v>44169</c:v>
                </c:pt>
                <c:pt idx="91">
                  <c:v>44170</c:v>
                </c:pt>
                <c:pt idx="92">
                  <c:v>44171</c:v>
                </c:pt>
                <c:pt idx="93">
                  <c:v>44172</c:v>
                </c:pt>
                <c:pt idx="94">
                  <c:v>44173</c:v>
                </c:pt>
                <c:pt idx="95">
                  <c:v>44174</c:v>
                </c:pt>
                <c:pt idx="96">
                  <c:v>44175</c:v>
                </c:pt>
                <c:pt idx="97">
                  <c:v>44176</c:v>
                </c:pt>
                <c:pt idx="98">
                  <c:v>44177</c:v>
                </c:pt>
                <c:pt idx="99">
                  <c:v>44178</c:v>
                </c:pt>
                <c:pt idx="100">
                  <c:v>44179</c:v>
                </c:pt>
                <c:pt idx="101">
                  <c:v>44180</c:v>
                </c:pt>
                <c:pt idx="102">
                  <c:v>44181</c:v>
                </c:pt>
                <c:pt idx="103">
                  <c:v>44182</c:v>
                </c:pt>
                <c:pt idx="104">
                  <c:v>44183</c:v>
                </c:pt>
                <c:pt idx="105">
                  <c:v>44184</c:v>
                </c:pt>
                <c:pt idx="106">
                  <c:v>44185</c:v>
                </c:pt>
                <c:pt idx="107">
                  <c:v>44186</c:v>
                </c:pt>
                <c:pt idx="108">
                  <c:v>44187</c:v>
                </c:pt>
                <c:pt idx="109">
                  <c:v>44188</c:v>
                </c:pt>
                <c:pt idx="110">
                  <c:v>44189</c:v>
                </c:pt>
                <c:pt idx="111">
                  <c:v>44190</c:v>
                </c:pt>
                <c:pt idx="112">
                  <c:v>44191</c:v>
                </c:pt>
                <c:pt idx="113">
                  <c:v>44192</c:v>
                </c:pt>
                <c:pt idx="114">
                  <c:v>44193</c:v>
                </c:pt>
                <c:pt idx="115">
                  <c:v>44194</c:v>
                </c:pt>
                <c:pt idx="116">
                  <c:v>44195</c:v>
                </c:pt>
                <c:pt idx="117">
                  <c:v>44196</c:v>
                </c:pt>
                <c:pt idx="118">
                  <c:v>44197</c:v>
                </c:pt>
                <c:pt idx="119">
                  <c:v>44198</c:v>
                </c:pt>
                <c:pt idx="120">
                  <c:v>44199</c:v>
                </c:pt>
                <c:pt idx="121">
                  <c:v>44200</c:v>
                </c:pt>
                <c:pt idx="122">
                  <c:v>44201</c:v>
                </c:pt>
                <c:pt idx="123">
                  <c:v>44202</c:v>
                </c:pt>
                <c:pt idx="124">
                  <c:v>44203</c:v>
                </c:pt>
                <c:pt idx="125">
                  <c:v>44204</c:v>
                </c:pt>
                <c:pt idx="126">
                  <c:v>44205</c:v>
                </c:pt>
                <c:pt idx="127">
                  <c:v>44206</c:v>
                </c:pt>
                <c:pt idx="128">
                  <c:v>44207</c:v>
                </c:pt>
                <c:pt idx="129">
                  <c:v>44208</c:v>
                </c:pt>
                <c:pt idx="130">
                  <c:v>44209</c:v>
                </c:pt>
                <c:pt idx="131">
                  <c:v>44210</c:v>
                </c:pt>
                <c:pt idx="132">
                  <c:v>44211</c:v>
                </c:pt>
                <c:pt idx="133">
                  <c:v>44212</c:v>
                </c:pt>
                <c:pt idx="134">
                  <c:v>44213</c:v>
                </c:pt>
                <c:pt idx="135">
                  <c:v>44214</c:v>
                </c:pt>
                <c:pt idx="136">
                  <c:v>44215</c:v>
                </c:pt>
                <c:pt idx="137">
                  <c:v>44216</c:v>
                </c:pt>
                <c:pt idx="138">
                  <c:v>44217</c:v>
                </c:pt>
                <c:pt idx="139">
                  <c:v>44218</c:v>
                </c:pt>
                <c:pt idx="140">
                  <c:v>44219</c:v>
                </c:pt>
                <c:pt idx="141">
                  <c:v>44220</c:v>
                </c:pt>
                <c:pt idx="142">
                  <c:v>44221</c:v>
                </c:pt>
                <c:pt idx="143">
                  <c:v>44222</c:v>
                </c:pt>
                <c:pt idx="144">
                  <c:v>44223</c:v>
                </c:pt>
                <c:pt idx="145">
                  <c:v>44224</c:v>
                </c:pt>
                <c:pt idx="146">
                  <c:v>44225</c:v>
                </c:pt>
                <c:pt idx="147">
                  <c:v>44226</c:v>
                </c:pt>
                <c:pt idx="148">
                  <c:v>44227</c:v>
                </c:pt>
                <c:pt idx="149">
                  <c:v>44228</c:v>
                </c:pt>
                <c:pt idx="150">
                  <c:v>44229</c:v>
                </c:pt>
                <c:pt idx="151">
                  <c:v>44230</c:v>
                </c:pt>
                <c:pt idx="152">
                  <c:v>44231</c:v>
                </c:pt>
                <c:pt idx="153">
                  <c:v>44232</c:v>
                </c:pt>
                <c:pt idx="154">
                  <c:v>44233</c:v>
                </c:pt>
                <c:pt idx="155">
                  <c:v>44234</c:v>
                </c:pt>
                <c:pt idx="156">
                  <c:v>44235</c:v>
                </c:pt>
                <c:pt idx="157">
                  <c:v>44236</c:v>
                </c:pt>
                <c:pt idx="158">
                  <c:v>44237</c:v>
                </c:pt>
                <c:pt idx="159">
                  <c:v>44238</c:v>
                </c:pt>
                <c:pt idx="160">
                  <c:v>44239</c:v>
                </c:pt>
                <c:pt idx="161">
                  <c:v>44240</c:v>
                </c:pt>
                <c:pt idx="162">
                  <c:v>44241</c:v>
                </c:pt>
                <c:pt idx="163">
                  <c:v>44242</c:v>
                </c:pt>
                <c:pt idx="164">
                  <c:v>44243</c:v>
                </c:pt>
                <c:pt idx="165">
                  <c:v>44244</c:v>
                </c:pt>
                <c:pt idx="166">
                  <c:v>44245</c:v>
                </c:pt>
                <c:pt idx="167">
                  <c:v>44246</c:v>
                </c:pt>
                <c:pt idx="168">
                  <c:v>44247</c:v>
                </c:pt>
                <c:pt idx="169">
                  <c:v>44248</c:v>
                </c:pt>
                <c:pt idx="170">
                  <c:v>44249</c:v>
                </c:pt>
                <c:pt idx="171">
                  <c:v>44250</c:v>
                </c:pt>
                <c:pt idx="172">
                  <c:v>44251</c:v>
                </c:pt>
                <c:pt idx="173">
                  <c:v>44252</c:v>
                </c:pt>
                <c:pt idx="174">
                  <c:v>44253</c:v>
                </c:pt>
                <c:pt idx="175">
                  <c:v>44254</c:v>
                </c:pt>
                <c:pt idx="176">
                  <c:v>44255</c:v>
                </c:pt>
                <c:pt idx="177">
                  <c:v>44256</c:v>
                </c:pt>
                <c:pt idx="178">
                  <c:v>44257</c:v>
                </c:pt>
                <c:pt idx="179">
                  <c:v>44258</c:v>
                </c:pt>
                <c:pt idx="180">
                  <c:v>44259</c:v>
                </c:pt>
                <c:pt idx="181">
                  <c:v>44260</c:v>
                </c:pt>
                <c:pt idx="182">
                  <c:v>44261</c:v>
                </c:pt>
                <c:pt idx="183">
                  <c:v>44262</c:v>
                </c:pt>
                <c:pt idx="184">
                  <c:v>44263</c:v>
                </c:pt>
                <c:pt idx="185">
                  <c:v>44264</c:v>
                </c:pt>
                <c:pt idx="186">
                  <c:v>44265</c:v>
                </c:pt>
                <c:pt idx="187">
                  <c:v>44266</c:v>
                </c:pt>
                <c:pt idx="188">
                  <c:v>44267</c:v>
                </c:pt>
                <c:pt idx="189">
                  <c:v>44268</c:v>
                </c:pt>
                <c:pt idx="190">
                  <c:v>44269</c:v>
                </c:pt>
                <c:pt idx="191">
                  <c:v>44270</c:v>
                </c:pt>
                <c:pt idx="192">
                  <c:v>44271</c:v>
                </c:pt>
                <c:pt idx="193">
                  <c:v>44272</c:v>
                </c:pt>
                <c:pt idx="194">
                  <c:v>44273</c:v>
                </c:pt>
                <c:pt idx="195">
                  <c:v>44274</c:v>
                </c:pt>
                <c:pt idx="196">
                  <c:v>44275</c:v>
                </c:pt>
                <c:pt idx="197">
                  <c:v>44276</c:v>
                </c:pt>
                <c:pt idx="198">
                  <c:v>44277</c:v>
                </c:pt>
                <c:pt idx="199">
                  <c:v>44278</c:v>
                </c:pt>
                <c:pt idx="200">
                  <c:v>44279</c:v>
                </c:pt>
                <c:pt idx="201">
                  <c:v>44280</c:v>
                </c:pt>
                <c:pt idx="202">
                  <c:v>44281</c:v>
                </c:pt>
                <c:pt idx="203">
                  <c:v>44282</c:v>
                </c:pt>
                <c:pt idx="204">
                  <c:v>44283</c:v>
                </c:pt>
                <c:pt idx="205">
                  <c:v>44284</c:v>
                </c:pt>
                <c:pt idx="206">
                  <c:v>44285</c:v>
                </c:pt>
                <c:pt idx="207">
                  <c:v>44286</c:v>
                </c:pt>
                <c:pt idx="208">
                  <c:v>44287</c:v>
                </c:pt>
                <c:pt idx="209">
                  <c:v>44288</c:v>
                </c:pt>
                <c:pt idx="210">
                  <c:v>44289</c:v>
                </c:pt>
                <c:pt idx="211">
                  <c:v>44290</c:v>
                </c:pt>
                <c:pt idx="212">
                  <c:v>44291</c:v>
                </c:pt>
                <c:pt idx="213">
                  <c:v>44292</c:v>
                </c:pt>
                <c:pt idx="214">
                  <c:v>44293</c:v>
                </c:pt>
                <c:pt idx="215">
                  <c:v>44294</c:v>
                </c:pt>
                <c:pt idx="216">
                  <c:v>44295</c:v>
                </c:pt>
                <c:pt idx="217">
                  <c:v>44296</c:v>
                </c:pt>
                <c:pt idx="218">
                  <c:v>44297</c:v>
                </c:pt>
                <c:pt idx="219">
                  <c:v>44298</c:v>
                </c:pt>
                <c:pt idx="220">
                  <c:v>44299</c:v>
                </c:pt>
                <c:pt idx="221">
                  <c:v>44300</c:v>
                </c:pt>
                <c:pt idx="222">
                  <c:v>44301</c:v>
                </c:pt>
                <c:pt idx="223">
                  <c:v>44302</c:v>
                </c:pt>
                <c:pt idx="224">
                  <c:v>44303</c:v>
                </c:pt>
                <c:pt idx="225">
                  <c:v>44304</c:v>
                </c:pt>
                <c:pt idx="226">
                  <c:v>44305</c:v>
                </c:pt>
                <c:pt idx="227">
                  <c:v>44306</c:v>
                </c:pt>
                <c:pt idx="228">
                  <c:v>44307</c:v>
                </c:pt>
                <c:pt idx="229">
                  <c:v>44308</c:v>
                </c:pt>
                <c:pt idx="230">
                  <c:v>44309</c:v>
                </c:pt>
                <c:pt idx="231">
                  <c:v>44310</c:v>
                </c:pt>
                <c:pt idx="232">
                  <c:v>44312</c:v>
                </c:pt>
                <c:pt idx="233">
                  <c:v>44313</c:v>
                </c:pt>
                <c:pt idx="234">
                  <c:v>44314</c:v>
                </c:pt>
                <c:pt idx="235">
                  <c:v>44315</c:v>
                </c:pt>
                <c:pt idx="236">
                  <c:v>44316</c:v>
                </c:pt>
                <c:pt idx="237">
                  <c:v>44317</c:v>
                </c:pt>
                <c:pt idx="238">
                  <c:v>44318</c:v>
                </c:pt>
                <c:pt idx="239">
                  <c:v>44319</c:v>
                </c:pt>
                <c:pt idx="240">
                  <c:v>44320</c:v>
                </c:pt>
                <c:pt idx="241">
                  <c:v>44321</c:v>
                </c:pt>
                <c:pt idx="242">
                  <c:v>44322</c:v>
                </c:pt>
                <c:pt idx="243">
                  <c:v>44323</c:v>
                </c:pt>
                <c:pt idx="244">
                  <c:v>44324</c:v>
                </c:pt>
                <c:pt idx="245">
                  <c:v>44325</c:v>
                </c:pt>
                <c:pt idx="246">
                  <c:v>44326</c:v>
                </c:pt>
                <c:pt idx="247">
                  <c:v>44327</c:v>
                </c:pt>
                <c:pt idx="248">
                  <c:v>44329</c:v>
                </c:pt>
                <c:pt idx="249">
                  <c:v>44330</c:v>
                </c:pt>
                <c:pt idx="250">
                  <c:v>44331</c:v>
                </c:pt>
                <c:pt idx="251">
                  <c:v>44333</c:v>
                </c:pt>
                <c:pt idx="252">
                  <c:v>44334</c:v>
                </c:pt>
                <c:pt idx="253">
                  <c:v>44335</c:v>
                </c:pt>
                <c:pt idx="254">
                  <c:v>44336</c:v>
                </c:pt>
                <c:pt idx="255">
                  <c:v>44337</c:v>
                </c:pt>
                <c:pt idx="256">
                  <c:v>44340</c:v>
                </c:pt>
                <c:pt idx="257">
                  <c:v>44341</c:v>
                </c:pt>
                <c:pt idx="258">
                  <c:v>44342</c:v>
                </c:pt>
                <c:pt idx="259">
                  <c:v>44343</c:v>
                </c:pt>
                <c:pt idx="260">
                  <c:v>44347</c:v>
                </c:pt>
                <c:pt idx="261">
                  <c:v>44349</c:v>
                </c:pt>
                <c:pt idx="262">
                  <c:v>44350</c:v>
                </c:pt>
                <c:pt idx="263">
                  <c:v>44354</c:v>
                </c:pt>
                <c:pt idx="264">
                  <c:v>44358</c:v>
                </c:pt>
                <c:pt idx="265">
                  <c:v>44359</c:v>
                </c:pt>
                <c:pt idx="266">
                  <c:v>44364</c:v>
                </c:pt>
                <c:pt idx="267">
                  <c:v>44370</c:v>
                </c:pt>
                <c:pt idx="268">
                  <c:v>44371</c:v>
                </c:pt>
                <c:pt idx="269">
                  <c:v>44372</c:v>
                </c:pt>
                <c:pt idx="270">
                  <c:v>44375</c:v>
                </c:pt>
                <c:pt idx="271">
                  <c:v>44377</c:v>
                </c:pt>
                <c:pt idx="272">
                  <c:v>44378</c:v>
                </c:pt>
                <c:pt idx="273">
                  <c:v>44381</c:v>
                </c:pt>
                <c:pt idx="274">
                  <c:v>44383</c:v>
                </c:pt>
                <c:pt idx="275">
                  <c:v>44384</c:v>
                </c:pt>
                <c:pt idx="276">
                  <c:v>44385</c:v>
                </c:pt>
                <c:pt idx="277">
                  <c:v>44388</c:v>
                </c:pt>
                <c:pt idx="278">
                  <c:v>44398</c:v>
                </c:pt>
                <c:pt idx="279">
                  <c:v>44401</c:v>
                </c:pt>
                <c:pt idx="280">
                  <c:v>44404</c:v>
                </c:pt>
                <c:pt idx="281">
                  <c:v>44405</c:v>
                </c:pt>
                <c:pt idx="282">
                  <c:v>44407</c:v>
                </c:pt>
                <c:pt idx="283">
                  <c:v>44416</c:v>
                </c:pt>
                <c:pt idx="284">
                  <c:v>44419</c:v>
                </c:pt>
                <c:pt idx="285">
                  <c:v>44423</c:v>
                </c:pt>
                <c:pt idx="286">
                  <c:v>44424</c:v>
                </c:pt>
                <c:pt idx="287">
                  <c:v>44425</c:v>
                </c:pt>
                <c:pt idx="288">
                  <c:v>44427</c:v>
                </c:pt>
                <c:pt idx="289">
                  <c:v>44431</c:v>
                </c:pt>
                <c:pt idx="290">
                  <c:v>44434</c:v>
                </c:pt>
                <c:pt idx="291">
                  <c:v>44435</c:v>
                </c:pt>
                <c:pt idx="292">
                  <c:v>44436</c:v>
                </c:pt>
                <c:pt idx="293">
                  <c:v>44437</c:v>
                </c:pt>
                <c:pt idx="294">
                  <c:v>44440</c:v>
                </c:pt>
                <c:pt idx="295">
                  <c:v>44441</c:v>
                </c:pt>
                <c:pt idx="296">
                  <c:v>44442</c:v>
                </c:pt>
                <c:pt idx="297">
                  <c:v>44443</c:v>
                </c:pt>
                <c:pt idx="298">
                  <c:v>44445</c:v>
                </c:pt>
                <c:pt idx="299">
                  <c:v>44446</c:v>
                </c:pt>
                <c:pt idx="300">
                  <c:v>44447</c:v>
                </c:pt>
                <c:pt idx="301">
                  <c:v>44448</c:v>
                </c:pt>
                <c:pt idx="302">
                  <c:v>44449</c:v>
                </c:pt>
                <c:pt idx="303">
                  <c:v>44451</c:v>
                </c:pt>
                <c:pt idx="304">
                  <c:v>44452</c:v>
                </c:pt>
                <c:pt idx="305">
                  <c:v>44453</c:v>
                </c:pt>
                <c:pt idx="306">
                  <c:v>44457</c:v>
                </c:pt>
                <c:pt idx="307">
                  <c:v>44459</c:v>
                </c:pt>
                <c:pt idx="308">
                  <c:v>44460</c:v>
                </c:pt>
                <c:pt idx="309">
                  <c:v>44461</c:v>
                </c:pt>
                <c:pt idx="310">
                  <c:v>44464</c:v>
                </c:pt>
                <c:pt idx="311">
                  <c:v>44465</c:v>
                </c:pt>
                <c:pt idx="312">
                  <c:v>44466</c:v>
                </c:pt>
                <c:pt idx="313">
                  <c:v>44467</c:v>
                </c:pt>
                <c:pt idx="314">
                  <c:v>44468</c:v>
                </c:pt>
                <c:pt idx="315">
                  <c:v>44469</c:v>
                </c:pt>
                <c:pt idx="316">
                  <c:v>44470</c:v>
                </c:pt>
                <c:pt idx="317">
                  <c:v>44471</c:v>
                </c:pt>
                <c:pt idx="318">
                  <c:v>44472</c:v>
                </c:pt>
                <c:pt idx="319">
                  <c:v>44473</c:v>
                </c:pt>
                <c:pt idx="320">
                  <c:v>44474</c:v>
                </c:pt>
                <c:pt idx="321">
                  <c:v>44475</c:v>
                </c:pt>
                <c:pt idx="322">
                  <c:v>44476</c:v>
                </c:pt>
                <c:pt idx="323">
                  <c:v>44477</c:v>
                </c:pt>
                <c:pt idx="324">
                  <c:v>44478</c:v>
                </c:pt>
                <c:pt idx="325">
                  <c:v>44480</c:v>
                </c:pt>
                <c:pt idx="326">
                  <c:v>44481</c:v>
                </c:pt>
                <c:pt idx="327">
                  <c:v>44482</c:v>
                </c:pt>
                <c:pt idx="328">
                  <c:v>44483</c:v>
                </c:pt>
                <c:pt idx="329">
                  <c:v>44484</c:v>
                </c:pt>
                <c:pt idx="330">
                  <c:v>44485</c:v>
                </c:pt>
                <c:pt idx="331">
                  <c:v>44486</c:v>
                </c:pt>
                <c:pt idx="332">
                  <c:v>44487</c:v>
                </c:pt>
                <c:pt idx="333">
                  <c:v>44488</c:v>
                </c:pt>
                <c:pt idx="334">
                  <c:v>44489</c:v>
                </c:pt>
                <c:pt idx="335">
                  <c:v>44490</c:v>
                </c:pt>
                <c:pt idx="336">
                  <c:v>44491</c:v>
                </c:pt>
                <c:pt idx="337">
                  <c:v>44492</c:v>
                </c:pt>
                <c:pt idx="338">
                  <c:v>44493</c:v>
                </c:pt>
                <c:pt idx="339">
                  <c:v>44494</c:v>
                </c:pt>
                <c:pt idx="340">
                  <c:v>44495</c:v>
                </c:pt>
                <c:pt idx="341">
                  <c:v>44496</c:v>
                </c:pt>
                <c:pt idx="342">
                  <c:v>44497</c:v>
                </c:pt>
                <c:pt idx="343">
                  <c:v>44498</c:v>
                </c:pt>
                <c:pt idx="344">
                  <c:v>44499</c:v>
                </c:pt>
                <c:pt idx="345">
                  <c:v>44500</c:v>
                </c:pt>
                <c:pt idx="346">
                  <c:v>44501</c:v>
                </c:pt>
                <c:pt idx="347">
                  <c:v>44502</c:v>
                </c:pt>
                <c:pt idx="348">
                  <c:v>44503</c:v>
                </c:pt>
                <c:pt idx="349">
                  <c:v>44504</c:v>
                </c:pt>
                <c:pt idx="350">
                  <c:v>44505</c:v>
                </c:pt>
                <c:pt idx="351">
                  <c:v>44506</c:v>
                </c:pt>
                <c:pt idx="352">
                  <c:v>44507</c:v>
                </c:pt>
                <c:pt idx="353">
                  <c:v>44508</c:v>
                </c:pt>
                <c:pt idx="354">
                  <c:v>44509</c:v>
                </c:pt>
                <c:pt idx="355">
                  <c:v>44510</c:v>
                </c:pt>
                <c:pt idx="356">
                  <c:v>44511</c:v>
                </c:pt>
                <c:pt idx="357">
                  <c:v>44512</c:v>
                </c:pt>
                <c:pt idx="358">
                  <c:v>44513</c:v>
                </c:pt>
                <c:pt idx="359">
                  <c:v>44514</c:v>
                </c:pt>
                <c:pt idx="360">
                  <c:v>44515</c:v>
                </c:pt>
                <c:pt idx="361">
                  <c:v>44516</c:v>
                </c:pt>
                <c:pt idx="362">
                  <c:v>44517</c:v>
                </c:pt>
                <c:pt idx="363">
                  <c:v>44518</c:v>
                </c:pt>
                <c:pt idx="364">
                  <c:v>44519</c:v>
                </c:pt>
                <c:pt idx="365">
                  <c:v>44520</c:v>
                </c:pt>
                <c:pt idx="366">
                  <c:v>44521</c:v>
                </c:pt>
                <c:pt idx="367">
                  <c:v>44522</c:v>
                </c:pt>
                <c:pt idx="368">
                  <c:v>44523</c:v>
                </c:pt>
                <c:pt idx="369">
                  <c:v>44524</c:v>
                </c:pt>
                <c:pt idx="370">
                  <c:v>44525</c:v>
                </c:pt>
                <c:pt idx="371">
                  <c:v>44526</c:v>
                </c:pt>
                <c:pt idx="372">
                  <c:v>44527</c:v>
                </c:pt>
                <c:pt idx="373">
                  <c:v>44528</c:v>
                </c:pt>
                <c:pt idx="374">
                  <c:v>44529</c:v>
                </c:pt>
                <c:pt idx="375">
                  <c:v>44530</c:v>
                </c:pt>
                <c:pt idx="376">
                  <c:v>44531</c:v>
                </c:pt>
                <c:pt idx="377">
                  <c:v>44532</c:v>
                </c:pt>
                <c:pt idx="378">
                  <c:v>44533</c:v>
                </c:pt>
                <c:pt idx="379">
                  <c:v>44534</c:v>
                </c:pt>
                <c:pt idx="380">
                  <c:v>44535</c:v>
                </c:pt>
                <c:pt idx="381">
                  <c:v>44536</c:v>
                </c:pt>
                <c:pt idx="382">
                  <c:v>44537</c:v>
                </c:pt>
                <c:pt idx="383">
                  <c:v>44538</c:v>
                </c:pt>
                <c:pt idx="384">
                  <c:v>44539</c:v>
                </c:pt>
                <c:pt idx="385">
                  <c:v>44540</c:v>
                </c:pt>
                <c:pt idx="386">
                  <c:v>44541</c:v>
                </c:pt>
                <c:pt idx="387">
                  <c:v>44542</c:v>
                </c:pt>
                <c:pt idx="388">
                  <c:v>44543</c:v>
                </c:pt>
                <c:pt idx="389">
                  <c:v>44544</c:v>
                </c:pt>
                <c:pt idx="390">
                  <c:v>44545</c:v>
                </c:pt>
                <c:pt idx="391">
                  <c:v>44546</c:v>
                </c:pt>
                <c:pt idx="392">
                  <c:v>44547</c:v>
                </c:pt>
                <c:pt idx="393">
                  <c:v>44548</c:v>
                </c:pt>
                <c:pt idx="394">
                  <c:v>44549</c:v>
                </c:pt>
                <c:pt idx="395">
                  <c:v>44550</c:v>
                </c:pt>
                <c:pt idx="396">
                  <c:v>44551</c:v>
                </c:pt>
                <c:pt idx="397">
                  <c:v>44552</c:v>
                </c:pt>
                <c:pt idx="398">
                  <c:v>44553</c:v>
                </c:pt>
                <c:pt idx="399">
                  <c:v>44554</c:v>
                </c:pt>
                <c:pt idx="400">
                  <c:v>44555</c:v>
                </c:pt>
                <c:pt idx="401">
                  <c:v>44556</c:v>
                </c:pt>
                <c:pt idx="402">
                  <c:v>44557</c:v>
                </c:pt>
                <c:pt idx="403">
                  <c:v>44558</c:v>
                </c:pt>
                <c:pt idx="404">
                  <c:v>44559</c:v>
                </c:pt>
                <c:pt idx="405">
                  <c:v>44560</c:v>
                </c:pt>
                <c:pt idx="406">
                  <c:v>44561</c:v>
                </c:pt>
                <c:pt idx="407">
                  <c:v>44562</c:v>
                </c:pt>
                <c:pt idx="408">
                  <c:v>44563</c:v>
                </c:pt>
                <c:pt idx="409">
                  <c:v>44564</c:v>
                </c:pt>
                <c:pt idx="410">
                  <c:v>44565</c:v>
                </c:pt>
                <c:pt idx="411">
                  <c:v>44566</c:v>
                </c:pt>
                <c:pt idx="412">
                  <c:v>44567</c:v>
                </c:pt>
                <c:pt idx="413">
                  <c:v>44568</c:v>
                </c:pt>
                <c:pt idx="414">
                  <c:v>44569</c:v>
                </c:pt>
                <c:pt idx="415">
                  <c:v>44570</c:v>
                </c:pt>
                <c:pt idx="416">
                  <c:v>44571</c:v>
                </c:pt>
                <c:pt idx="417">
                  <c:v>44572</c:v>
                </c:pt>
                <c:pt idx="418">
                  <c:v>44573</c:v>
                </c:pt>
                <c:pt idx="419">
                  <c:v>44574</c:v>
                </c:pt>
                <c:pt idx="420">
                  <c:v>44575</c:v>
                </c:pt>
                <c:pt idx="421">
                  <c:v>44576</c:v>
                </c:pt>
                <c:pt idx="422">
                  <c:v>44577</c:v>
                </c:pt>
                <c:pt idx="423">
                  <c:v>44578</c:v>
                </c:pt>
                <c:pt idx="424">
                  <c:v>44579</c:v>
                </c:pt>
                <c:pt idx="425">
                  <c:v>44580</c:v>
                </c:pt>
                <c:pt idx="426">
                  <c:v>44581</c:v>
                </c:pt>
                <c:pt idx="427">
                  <c:v>44582</c:v>
                </c:pt>
                <c:pt idx="428">
                  <c:v>44583</c:v>
                </c:pt>
                <c:pt idx="429">
                  <c:v>44584</c:v>
                </c:pt>
                <c:pt idx="430">
                  <c:v>44585</c:v>
                </c:pt>
                <c:pt idx="431">
                  <c:v>44586</c:v>
                </c:pt>
                <c:pt idx="432">
                  <c:v>44587</c:v>
                </c:pt>
                <c:pt idx="433">
                  <c:v>44588</c:v>
                </c:pt>
                <c:pt idx="434">
                  <c:v>44589</c:v>
                </c:pt>
                <c:pt idx="435">
                  <c:v>44590</c:v>
                </c:pt>
                <c:pt idx="436">
                  <c:v>44591</c:v>
                </c:pt>
                <c:pt idx="437">
                  <c:v>44592</c:v>
                </c:pt>
                <c:pt idx="438">
                  <c:v>44593</c:v>
                </c:pt>
                <c:pt idx="439">
                  <c:v>44594</c:v>
                </c:pt>
                <c:pt idx="440">
                  <c:v>44595</c:v>
                </c:pt>
                <c:pt idx="441">
                  <c:v>44596</c:v>
                </c:pt>
                <c:pt idx="442">
                  <c:v>44597</c:v>
                </c:pt>
                <c:pt idx="443">
                  <c:v>44598</c:v>
                </c:pt>
                <c:pt idx="444">
                  <c:v>44599</c:v>
                </c:pt>
                <c:pt idx="445">
                  <c:v>44600</c:v>
                </c:pt>
                <c:pt idx="446">
                  <c:v>44601</c:v>
                </c:pt>
                <c:pt idx="447">
                  <c:v>44602</c:v>
                </c:pt>
                <c:pt idx="448">
                  <c:v>44603</c:v>
                </c:pt>
                <c:pt idx="449">
                  <c:v>44604</c:v>
                </c:pt>
                <c:pt idx="450">
                  <c:v>44605</c:v>
                </c:pt>
                <c:pt idx="451">
                  <c:v>44606</c:v>
                </c:pt>
                <c:pt idx="452">
                  <c:v>44607</c:v>
                </c:pt>
                <c:pt idx="453">
                  <c:v>44608</c:v>
                </c:pt>
                <c:pt idx="454">
                  <c:v>44609</c:v>
                </c:pt>
                <c:pt idx="455">
                  <c:v>44610</c:v>
                </c:pt>
                <c:pt idx="456">
                  <c:v>44611</c:v>
                </c:pt>
                <c:pt idx="457">
                  <c:v>44612</c:v>
                </c:pt>
                <c:pt idx="458">
                  <c:v>44613</c:v>
                </c:pt>
                <c:pt idx="459">
                  <c:v>44614</c:v>
                </c:pt>
                <c:pt idx="460">
                  <c:v>44615</c:v>
                </c:pt>
                <c:pt idx="461">
                  <c:v>44616</c:v>
                </c:pt>
                <c:pt idx="462">
                  <c:v>44617</c:v>
                </c:pt>
                <c:pt idx="463">
                  <c:v>44618</c:v>
                </c:pt>
                <c:pt idx="464">
                  <c:v>44619</c:v>
                </c:pt>
                <c:pt idx="465">
                  <c:v>44620</c:v>
                </c:pt>
                <c:pt idx="466">
                  <c:v>44621</c:v>
                </c:pt>
                <c:pt idx="467">
                  <c:v>44622</c:v>
                </c:pt>
                <c:pt idx="468">
                  <c:v>44623</c:v>
                </c:pt>
                <c:pt idx="469">
                  <c:v>44624</c:v>
                </c:pt>
                <c:pt idx="470">
                  <c:v>44625</c:v>
                </c:pt>
                <c:pt idx="471">
                  <c:v>44626</c:v>
                </c:pt>
                <c:pt idx="472">
                  <c:v>44627</c:v>
                </c:pt>
                <c:pt idx="473">
                  <c:v>44628</c:v>
                </c:pt>
                <c:pt idx="474">
                  <c:v>44629</c:v>
                </c:pt>
                <c:pt idx="475">
                  <c:v>44630</c:v>
                </c:pt>
                <c:pt idx="476">
                  <c:v>44631</c:v>
                </c:pt>
                <c:pt idx="477">
                  <c:v>44632</c:v>
                </c:pt>
                <c:pt idx="478">
                  <c:v>44633</c:v>
                </c:pt>
                <c:pt idx="479">
                  <c:v>44634</c:v>
                </c:pt>
                <c:pt idx="480">
                  <c:v>44635</c:v>
                </c:pt>
                <c:pt idx="481">
                  <c:v>44636</c:v>
                </c:pt>
                <c:pt idx="482">
                  <c:v>44637</c:v>
                </c:pt>
                <c:pt idx="483">
                  <c:v>44638</c:v>
                </c:pt>
              </c:numCache>
            </c:numRef>
          </c:cat>
          <c:val>
            <c:numRef>
              <c:f>Sheet1!$B$2:$B$485</c:f>
              <c:numCache>
                <c:formatCode>General</c:formatCode>
                <c:ptCount val="484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  <c:pt idx="14">
                  <c:v>0</c:v>
                </c:pt>
                <c:pt idx="15">
                  <c:v>2</c:v>
                </c:pt>
                <c:pt idx="16">
                  <c:v>1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2</c:v>
                </c:pt>
                <c:pt idx="23">
                  <c:v>4</c:v>
                </c:pt>
                <c:pt idx="24">
                  <c:v>1</c:v>
                </c:pt>
                <c:pt idx="25">
                  <c:v>8</c:v>
                </c:pt>
                <c:pt idx="26">
                  <c:v>9</c:v>
                </c:pt>
                <c:pt idx="27">
                  <c:v>19</c:v>
                </c:pt>
                <c:pt idx="28">
                  <c:v>10</c:v>
                </c:pt>
                <c:pt idx="29">
                  <c:v>7</c:v>
                </c:pt>
                <c:pt idx="30">
                  <c:v>46</c:v>
                </c:pt>
                <c:pt idx="31">
                  <c:v>15</c:v>
                </c:pt>
                <c:pt idx="32">
                  <c:v>8</c:v>
                </c:pt>
                <c:pt idx="33">
                  <c:v>17</c:v>
                </c:pt>
                <c:pt idx="34">
                  <c:v>28</c:v>
                </c:pt>
                <c:pt idx="35">
                  <c:v>12</c:v>
                </c:pt>
                <c:pt idx="36">
                  <c:v>2</c:v>
                </c:pt>
                <c:pt idx="37">
                  <c:v>28</c:v>
                </c:pt>
                <c:pt idx="38">
                  <c:v>40</c:v>
                </c:pt>
                <c:pt idx="39">
                  <c:v>50</c:v>
                </c:pt>
                <c:pt idx="40">
                  <c:v>34</c:v>
                </c:pt>
                <c:pt idx="41">
                  <c:v>42</c:v>
                </c:pt>
                <c:pt idx="42">
                  <c:v>27</c:v>
                </c:pt>
                <c:pt idx="43">
                  <c:v>17</c:v>
                </c:pt>
                <c:pt idx="44">
                  <c:v>42</c:v>
                </c:pt>
                <c:pt idx="45">
                  <c:v>42</c:v>
                </c:pt>
                <c:pt idx="46">
                  <c:v>59</c:v>
                </c:pt>
                <c:pt idx="47">
                  <c:v>63</c:v>
                </c:pt>
                <c:pt idx="48">
                  <c:v>79</c:v>
                </c:pt>
                <c:pt idx="49">
                  <c:v>47</c:v>
                </c:pt>
                <c:pt idx="50">
                  <c:v>37</c:v>
                </c:pt>
                <c:pt idx="51">
                  <c:v>83</c:v>
                </c:pt>
                <c:pt idx="52">
                  <c:v>75</c:v>
                </c:pt>
                <c:pt idx="53">
                  <c:v>44</c:v>
                </c:pt>
                <c:pt idx="54">
                  <c:v>92</c:v>
                </c:pt>
                <c:pt idx="55">
                  <c:v>103</c:v>
                </c:pt>
                <c:pt idx="56">
                  <c:v>38</c:v>
                </c:pt>
                <c:pt idx="57">
                  <c:v>40</c:v>
                </c:pt>
                <c:pt idx="58">
                  <c:v>65</c:v>
                </c:pt>
                <c:pt idx="59">
                  <c:v>65</c:v>
                </c:pt>
                <c:pt idx="60">
                  <c:v>70</c:v>
                </c:pt>
                <c:pt idx="61">
                  <c:v>84</c:v>
                </c:pt>
                <c:pt idx="62">
                  <c:v>90</c:v>
                </c:pt>
                <c:pt idx="63">
                  <c:v>33</c:v>
                </c:pt>
                <c:pt idx="64">
                  <c:v>19</c:v>
                </c:pt>
                <c:pt idx="65">
                  <c:v>56</c:v>
                </c:pt>
                <c:pt idx="66">
                  <c:v>75</c:v>
                </c:pt>
                <c:pt idx="67">
                  <c:v>123</c:v>
                </c:pt>
                <c:pt idx="68">
                  <c:v>98</c:v>
                </c:pt>
                <c:pt idx="69">
                  <c:v>84</c:v>
                </c:pt>
                <c:pt idx="70">
                  <c:v>48</c:v>
                </c:pt>
                <c:pt idx="71">
                  <c:v>28</c:v>
                </c:pt>
                <c:pt idx="72">
                  <c:v>72</c:v>
                </c:pt>
                <c:pt idx="73">
                  <c:v>26</c:v>
                </c:pt>
                <c:pt idx="74">
                  <c:v>52</c:v>
                </c:pt>
                <c:pt idx="75">
                  <c:v>62</c:v>
                </c:pt>
                <c:pt idx="76">
                  <c:v>53</c:v>
                </c:pt>
                <c:pt idx="77">
                  <c:v>22</c:v>
                </c:pt>
                <c:pt idx="78">
                  <c:v>13</c:v>
                </c:pt>
                <c:pt idx="79">
                  <c:v>77</c:v>
                </c:pt>
                <c:pt idx="80">
                  <c:v>44</c:v>
                </c:pt>
                <c:pt idx="81">
                  <c:v>30</c:v>
                </c:pt>
                <c:pt idx="82">
                  <c:v>37</c:v>
                </c:pt>
                <c:pt idx="83">
                  <c:v>28</c:v>
                </c:pt>
                <c:pt idx="84">
                  <c:v>16</c:v>
                </c:pt>
                <c:pt idx="85">
                  <c:v>13</c:v>
                </c:pt>
                <c:pt idx="86">
                  <c:v>43</c:v>
                </c:pt>
                <c:pt idx="87">
                  <c:v>35</c:v>
                </c:pt>
                <c:pt idx="88">
                  <c:v>29</c:v>
                </c:pt>
                <c:pt idx="89">
                  <c:v>26</c:v>
                </c:pt>
                <c:pt idx="90">
                  <c:v>44</c:v>
                </c:pt>
                <c:pt idx="91">
                  <c:v>21</c:v>
                </c:pt>
                <c:pt idx="92">
                  <c:v>10</c:v>
                </c:pt>
                <c:pt idx="93">
                  <c:v>38</c:v>
                </c:pt>
                <c:pt idx="94">
                  <c:v>30</c:v>
                </c:pt>
                <c:pt idx="95">
                  <c:v>33</c:v>
                </c:pt>
                <c:pt idx="96">
                  <c:v>29</c:v>
                </c:pt>
                <c:pt idx="97">
                  <c:v>36</c:v>
                </c:pt>
                <c:pt idx="98">
                  <c:v>17</c:v>
                </c:pt>
                <c:pt idx="99">
                  <c:v>25</c:v>
                </c:pt>
                <c:pt idx="100">
                  <c:v>37</c:v>
                </c:pt>
                <c:pt idx="101">
                  <c:v>26</c:v>
                </c:pt>
                <c:pt idx="102">
                  <c:v>29</c:v>
                </c:pt>
                <c:pt idx="103">
                  <c:v>17</c:v>
                </c:pt>
                <c:pt idx="104">
                  <c:v>40</c:v>
                </c:pt>
                <c:pt idx="105">
                  <c:v>15</c:v>
                </c:pt>
                <c:pt idx="106">
                  <c:v>8</c:v>
                </c:pt>
                <c:pt idx="107">
                  <c:v>30</c:v>
                </c:pt>
                <c:pt idx="108">
                  <c:v>43</c:v>
                </c:pt>
                <c:pt idx="109">
                  <c:v>22</c:v>
                </c:pt>
                <c:pt idx="110">
                  <c:v>6</c:v>
                </c:pt>
                <c:pt idx="111">
                  <c:v>23</c:v>
                </c:pt>
                <c:pt idx="112">
                  <c:v>18</c:v>
                </c:pt>
                <c:pt idx="113">
                  <c:v>20</c:v>
                </c:pt>
                <c:pt idx="114">
                  <c:v>21</c:v>
                </c:pt>
                <c:pt idx="115">
                  <c:v>46</c:v>
                </c:pt>
                <c:pt idx="116">
                  <c:v>28</c:v>
                </c:pt>
                <c:pt idx="117">
                  <c:v>37</c:v>
                </c:pt>
                <c:pt idx="118">
                  <c:v>20</c:v>
                </c:pt>
                <c:pt idx="119">
                  <c:v>15</c:v>
                </c:pt>
                <c:pt idx="120">
                  <c:v>5</c:v>
                </c:pt>
                <c:pt idx="121">
                  <c:v>34</c:v>
                </c:pt>
                <c:pt idx="122">
                  <c:v>32</c:v>
                </c:pt>
                <c:pt idx="123">
                  <c:v>35</c:v>
                </c:pt>
                <c:pt idx="124">
                  <c:v>45</c:v>
                </c:pt>
                <c:pt idx="125">
                  <c:v>39</c:v>
                </c:pt>
                <c:pt idx="126">
                  <c:v>16</c:v>
                </c:pt>
                <c:pt idx="127">
                  <c:v>10</c:v>
                </c:pt>
                <c:pt idx="128">
                  <c:v>57</c:v>
                </c:pt>
                <c:pt idx="129">
                  <c:v>27</c:v>
                </c:pt>
                <c:pt idx="130">
                  <c:v>22</c:v>
                </c:pt>
                <c:pt idx="131">
                  <c:v>14</c:v>
                </c:pt>
                <c:pt idx="132">
                  <c:v>24</c:v>
                </c:pt>
                <c:pt idx="133">
                  <c:v>13</c:v>
                </c:pt>
                <c:pt idx="134">
                  <c:v>15</c:v>
                </c:pt>
                <c:pt idx="135">
                  <c:v>32</c:v>
                </c:pt>
                <c:pt idx="136">
                  <c:v>28</c:v>
                </c:pt>
                <c:pt idx="137">
                  <c:v>38</c:v>
                </c:pt>
                <c:pt idx="138">
                  <c:v>25</c:v>
                </c:pt>
                <c:pt idx="139">
                  <c:v>24</c:v>
                </c:pt>
                <c:pt idx="140">
                  <c:v>8</c:v>
                </c:pt>
                <c:pt idx="141">
                  <c:v>10</c:v>
                </c:pt>
                <c:pt idx="142">
                  <c:v>25</c:v>
                </c:pt>
                <c:pt idx="143">
                  <c:v>14</c:v>
                </c:pt>
                <c:pt idx="144">
                  <c:v>21</c:v>
                </c:pt>
                <c:pt idx="145">
                  <c:v>12</c:v>
                </c:pt>
                <c:pt idx="146">
                  <c:v>9</c:v>
                </c:pt>
                <c:pt idx="147">
                  <c:v>10</c:v>
                </c:pt>
                <c:pt idx="148">
                  <c:v>7</c:v>
                </c:pt>
                <c:pt idx="149">
                  <c:v>23</c:v>
                </c:pt>
                <c:pt idx="150">
                  <c:v>21</c:v>
                </c:pt>
                <c:pt idx="151">
                  <c:v>15</c:v>
                </c:pt>
                <c:pt idx="152">
                  <c:v>21</c:v>
                </c:pt>
                <c:pt idx="153">
                  <c:v>16</c:v>
                </c:pt>
                <c:pt idx="154">
                  <c:v>6</c:v>
                </c:pt>
                <c:pt idx="155">
                  <c:v>5</c:v>
                </c:pt>
                <c:pt idx="156">
                  <c:v>16</c:v>
                </c:pt>
                <c:pt idx="157">
                  <c:v>15</c:v>
                </c:pt>
                <c:pt idx="158">
                  <c:v>16</c:v>
                </c:pt>
                <c:pt idx="159">
                  <c:v>14</c:v>
                </c:pt>
                <c:pt idx="160">
                  <c:v>13</c:v>
                </c:pt>
                <c:pt idx="161">
                  <c:v>2</c:v>
                </c:pt>
                <c:pt idx="162">
                  <c:v>5</c:v>
                </c:pt>
                <c:pt idx="163">
                  <c:v>8</c:v>
                </c:pt>
                <c:pt idx="164">
                  <c:v>8</c:v>
                </c:pt>
                <c:pt idx="165">
                  <c:v>7</c:v>
                </c:pt>
                <c:pt idx="166">
                  <c:v>10</c:v>
                </c:pt>
                <c:pt idx="167">
                  <c:v>6</c:v>
                </c:pt>
                <c:pt idx="168">
                  <c:v>11</c:v>
                </c:pt>
                <c:pt idx="169">
                  <c:v>4</c:v>
                </c:pt>
                <c:pt idx="170">
                  <c:v>23</c:v>
                </c:pt>
                <c:pt idx="171">
                  <c:v>16</c:v>
                </c:pt>
                <c:pt idx="172">
                  <c:v>10</c:v>
                </c:pt>
                <c:pt idx="173">
                  <c:v>11</c:v>
                </c:pt>
                <c:pt idx="174">
                  <c:v>11</c:v>
                </c:pt>
                <c:pt idx="175">
                  <c:v>4</c:v>
                </c:pt>
                <c:pt idx="176">
                  <c:v>1</c:v>
                </c:pt>
                <c:pt idx="177">
                  <c:v>12</c:v>
                </c:pt>
                <c:pt idx="178">
                  <c:v>7</c:v>
                </c:pt>
                <c:pt idx="179">
                  <c:v>10</c:v>
                </c:pt>
                <c:pt idx="180">
                  <c:v>4</c:v>
                </c:pt>
                <c:pt idx="181">
                  <c:v>8</c:v>
                </c:pt>
                <c:pt idx="182">
                  <c:v>2</c:v>
                </c:pt>
                <c:pt idx="183">
                  <c:v>4</c:v>
                </c:pt>
                <c:pt idx="184">
                  <c:v>6</c:v>
                </c:pt>
                <c:pt idx="185">
                  <c:v>12</c:v>
                </c:pt>
                <c:pt idx="186">
                  <c:v>12</c:v>
                </c:pt>
                <c:pt idx="187">
                  <c:v>8</c:v>
                </c:pt>
                <c:pt idx="188">
                  <c:v>6</c:v>
                </c:pt>
                <c:pt idx="189">
                  <c:v>5</c:v>
                </c:pt>
                <c:pt idx="190">
                  <c:v>3</c:v>
                </c:pt>
                <c:pt idx="191">
                  <c:v>11</c:v>
                </c:pt>
                <c:pt idx="192">
                  <c:v>9</c:v>
                </c:pt>
                <c:pt idx="193">
                  <c:v>3</c:v>
                </c:pt>
                <c:pt idx="194">
                  <c:v>8</c:v>
                </c:pt>
                <c:pt idx="195">
                  <c:v>11</c:v>
                </c:pt>
                <c:pt idx="196">
                  <c:v>4</c:v>
                </c:pt>
                <c:pt idx="197">
                  <c:v>2</c:v>
                </c:pt>
                <c:pt idx="198">
                  <c:v>4</c:v>
                </c:pt>
                <c:pt idx="199">
                  <c:v>8</c:v>
                </c:pt>
                <c:pt idx="200">
                  <c:v>4</c:v>
                </c:pt>
                <c:pt idx="201">
                  <c:v>3</c:v>
                </c:pt>
                <c:pt idx="202">
                  <c:v>2</c:v>
                </c:pt>
                <c:pt idx="203">
                  <c:v>2</c:v>
                </c:pt>
                <c:pt idx="204">
                  <c:v>0</c:v>
                </c:pt>
                <c:pt idx="205">
                  <c:v>3</c:v>
                </c:pt>
                <c:pt idx="206">
                  <c:v>1</c:v>
                </c:pt>
                <c:pt idx="207">
                  <c:v>2</c:v>
                </c:pt>
                <c:pt idx="208">
                  <c:v>2</c:v>
                </c:pt>
                <c:pt idx="209">
                  <c:v>1</c:v>
                </c:pt>
                <c:pt idx="210">
                  <c:v>3</c:v>
                </c:pt>
                <c:pt idx="211">
                  <c:v>2</c:v>
                </c:pt>
                <c:pt idx="212">
                  <c:v>0</c:v>
                </c:pt>
                <c:pt idx="213">
                  <c:v>0</c:v>
                </c:pt>
                <c:pt idx="214">
                  <c:v>6</c:v>
                </c:pt>
                <c:pt idx="215">
                  <c:v>1</c:v>
                </c:pt>
                <c:pt idx="216">
                  <c:v>1</c:v>
                </c:pt>
                <c:pt idx="217">
                  <c:v>0</c:v>
                </c:pt>
                <c:pt idx="218">
                  <c:v>0</c:v>
                </c:pt>
                <c:pt idx="219">
                  <c:v>2</c:v>
                </c:pt>
                <c:pt idx="220">
                  <c:v>4</c:v>
                </c:pt>
                <c:pt idx="221">
                  <c:v>2</c:v>
                </c:pt>
                <c:pt idx="222">
                  <c:v>2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2</c:v>
                </c:pt>
                <c:pt idx="227">
                  <c:v>2</c:v>
                </c:pt>
                <c:pt idx="228">
                  <c:v>2</c:v>
                </c:pt>
                <c:pt idx="229">
                  <c:v>5</c:v>
                </c:pt>
                <c:pt idx="230">
                  <c:v>2</c:v>
                </c:pt>
                <c:pt idx="231">
                  <c:v>0</c:v>
                </c:pt>
                <c:pt idx="232">
                  <c:v>1</c:v>
                </c:pt>
                <c:pt idx="233">
                  <c:v>5</c:v>
                </c:pt>
                <c:pt idx="234">
                  <c:v>0</c:v>
                </c:pt>
                <c:pt idx="235">
                  <c:v>1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2</c:v>
                </c:pt>
                <c:pt idx="240">
                  <c:v>0</c:v>
                </c:pt>
                <c:pt idx="241">
                  <c:v>1</c:v>
                </c:pt>
                <c:pt idx="242">
                  <c:v>1</c:v>
                </c:pt>
                <c:pt idx="243">
                  <c:v>1</c:v>
                </c:pt>
                <c:pt idx="244">
                  <c:v>0</c:v>
                </c:pt>
                <c:pt idx="245">
                  <c:v>2</c:v>
                </c:pt>
                <c:pt idx="246">
                  <c:v>3</c:v>
                </c:pt>
                <c:pt idx="247">
                  <c:v>1</c:v>
                </c:pt>
                <c:pt idx="248">
                  <c:v>3</c:v>
                </c:pt>
                <c:pt idx="249">
                  <c:v>4</c:v>
                </c:pt>
                <c:pt idx="250">
                  <c:v>1</c:v>
                </c:pt>
                <c:pt idx="251">
                  <c:v>1</c:v>
                </c:pt>
                <c:pt idx="252">
                  <c:v>0</c:v>
                </c:pt>
                <c:pt idx="253">
                  <c:v>2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1</c:v>
                </c:pt>
                <c:pt idx="261">
                  <c:v>2</c:v>
                </c:pt>
                <c:pt idx="262">
                  <c:v>1</c:v>
                </c:pt>
                <c:pt idx="263">
                  <c:v>0</c:v>
                </c:pt>
                <c:pt idx="264">
                  <c:v>0</c:v>
                </c:pt>
                <c:pt idx="265">
                  <c:v>1</c:v>
                </c:pt>
                <c:pt idx="266">
                  <c:v>1</c:v>
                </c:pt>
                <c:pt idx="267">
                  <c:v>1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1</c:v>
                </c:pt>
                <c:pt idx="274">
                  <c:v>0</c:v>
                </c:pt>
                <c:pt idx="275">
                  <c:v>0</c:v>
                </c:pt>
                <c:pt idx="276">
                  <c:v>1</c:v>
                </c:pt>
                <c:pt idx="277">
                  <c:v>0</c:v>
                </c:pt>
                <c:pt idx="278">
                  <c:v>0</c:v>
                </c:pt>
                <c:pt idx="279">
                  <c:v>1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1</c:v>
                </c:pt>
                <c:pt idx="288">
                  <c:v>1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2</c:v>
                </c:pt>
                <c:pt idx="295">
                  <c:v>2</c:v>
                </c:pt>
                <c:pt idx="296">
                  <c:v>1</c:v>
                </c:pt>
                <c:pt idx="297">
                  <c:v>0</c:v>
                </c:pt>
                <c:pt idx="298">
                  <c:v>2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2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1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3</c:v>
                </c:pt>
                <c:pt idx="322">
                  <c:v>1</c:v>
                </c:pt>
                <c:pt idx="323">
                  <c:v>3</c:v>
                </c:pt>
                <c:pt idx="324">
                  <c:v>0</c:v>
                </c:pt>
                <c:pt idx="325">
                  <c:v>1</c:v>
                </c:pt>
                <c:pt idx="326">
                  <c:v>1</c:v>
                </c:pt>
                <c:pt idx="327">
                  <c:v>3</c:v>
                </c:pt>
                <c:pt idx="328">
                  <c:v>1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4</c:v>
                </c:pt>
                <c:pt idx="333">
                  <c:v>0</c:v>
                </c:pt>
                <c:pt idx="334">
                  <c:v>1</c:v>
                </c:pt>
                <c:pt idx="335">
                  <c:v>0</c:v>
                </c:pt>
                <c:pt idx="336">
                  <c:v>2</c:v>
                </c:pt>
                <c:pt idx="337">
                  <c:v>0</c:v>
                </c:pt>
                <c:pt idx="338">
                  <c:v>0</c:v>
                </c:pt>
                <c:pt idx="339">
                  <c:v>4</c:v>
                </c:pt>
                <c:pt idx="340">
                  <c:v>2</c:v>
                </c:pt>
                <c:pt idx="341">
                  <c:v>2</c:v>
                </c:pt>
                <c:pt idx="342">
                  <c:v>0</c:v>
                </c:pt>
                <c:pt idx="343">
                  <c:v>5</c:v>
                </c:pt>
                <c:pt idx="344">
                  <c:v>3</c:v>
                </c:pt>
                <c:pt idx="345">
                  <c:v>2</c:v>
                </c:pt>
                <c:pt idx="346">
                  <c:v>9</c:v>
                </c:pt>
                <c:pt idx="347">
                  <c:v>7</c:v>
                </c:pt>
                <c:pt idx="348">
                  <c:v>5</c:v>
                </c:pt>
                <c:pt idx="349">
                  <c:v>3</c:v>
                </c:pt>
                <c:pt idx="350">
                  <c:v>6</c:v>
                </c:pt>
                <c:pt idx="351">
                  <c:v>1</c:v>
                </c:pt>
                <c:pt idx="352">
                  <c:v>1</c:v>
                </c:pt>
                <c:pt idx="353">
                  <c:v>6</c:v>
                </c:pt>
                <c:pt idx="354">
                  <c:v>8</c:v>
                </c:pt>
                <c:pt idx="355">
                  <c:v>5</c:v>
                </c:pt>
                <c:pt idx="356">
                  <c:v>7</c:v>
                </c:pt>
                <c:pt idx="357">
                  <c:v>2</c:v>
                </c:pt>
                <c:pt idx="358">
                  <c:v>5</c:v>
                </c:pt>
                <c:pt idx="359">
                  <c:v>2</c:v>
                </c:pt>
                <c:pt idx="360">
                  <c:v>7</c:v>
                </c:pt>
                <c:pt idx="361">
                  <c:v>7</c:v>
                </c:pt>
                <c:pt idx="362">
                  <c:v>6</c:v>
                </c:pt>
                <c:pt idx="363">
                  <c:v>14</c:v>
                </c:pt>
                <c:pt idx="364">
                  <c:v>7</c:v>
                </c:pt>
                <c:pt idx="365">
                  <c:v>3</c:v>
                </c:pt>
                <c:pt idx="366">
                  <c:v>3</c:v>
                </c:pt>
                <c:pt idx="367">
                  <c:v>14</c:v>
                </c:pt>
                <c:pt idx="368">
                  <c:v>6</c:v>
                </c:pt>
                <c:pt idx="369">
                  <c:v>17</c:v>
                </c:pt>
                <c:pt idx="370">
                  <c:v>3</c:v>
                </c:pt>
                <c:pt idx="371">
                  <c:v>8</c:v>
                </c:pt>
                <c:pt idx="372">
                  <c:v>1</c:v>
                </c:pt>
                <c:pt idx="373">
                  <c:v>3</c:v>
                </c:pt>
                <c:pt idx="374">
                  <c:v>8</c:v>
                </c:pt>
                <c:pt idx="375">
                  <c:v>4</c:v>
                </c:pt>
                <c:pt idx="376">
                  <c:v>8</c:v>
                </c:pt>
                <c:pt idx="377">
                  <c:v>6</c:v>
                </c:pt>
                <c:pt idx="378">
                  <c:v>5</c:v>
                </c:pt>
                <c:pt idx="379">
                  <c:v>6</c:v>
                </c:pt>
                <c:pt idx="380">
                  <c:v>3</c:v>
                </c:pt>
                <c:pt idx="381">
                  <c:v>10</c:v>
                </c:pt>
                <c:pt idx="382">
                  <c:v>2</c:v>
                </c:pt>
                <c:pt idx="383">
                  <c:v>6</c:v>
                </c:pt>
                <c:pt idx="384">
                  <c:v>5</c:v>
                </c:pt>
                <c:pt idx="385">
                  <c:v>7</c:v>
                </c:pt>
                <c:pt idx="386">
                  <c:v>2</c:v>
                </c:pt>
                <c:pt idx="387">
                  <c:v>0</c:v>
                </c:pt>
                <c:pt idx="388">
                  <c:v>6</c:v>
                </c:pt>
                <c:pt idx="389">
                  <c:v>2</c:v>
                </c:pt>
                <c:pt idx="390">
                  <c:v>2</c:v>
                </c:pt>
                <c:pt idx="391">
                  <c:v>5</c:v>
                </c:pt>
                <c:pt idx="392">
                  <c:v>4</c:v>
                </c:pt>
                <c:pt idx="393">
                  <c:v>0</c:v>
                </c:pt>
                <c:pt idx="394">
                  <c:v>1</c:v>
                </c:pt>
                <c:pt idx="395">
                  <c:v>7</c:v>
                </c:pt>
                <c:pt idx="396">
                  <c:v>3</c:v>
                </c:pt>
                <c:pt idx="397">
                  <c:v>3</c:v>
                </c:pt>
                <c:pt idx="398">
                  <c:v>1</c:v>
                </c:pt>
                <c:pt idx="399">
                  <c:v>1</c:v>
                </c:pt>
                <c:pt idx="400">
                  <c:v>1</c:v>
                </c:pt>
                <c:pt idx="401">
                  <c:v>0</c:v>
                </c:pt>
                <c:pt idx="402">
                  <c:v>3</c:v>
                </c:pt>
                <c:pt idx="403">
                  <c:v>3</c:v>
                </c:pt>
                <c:pt idx="404">
                  <c:v>3</c:v>
                </c:pt>
                <c:pt idx="405">
                  <c:v>0</c:v>
                </c:pt>
                <c:pt idx="406">
                  <c:v>3</c:v>
                </c:pt>
                <c:pt idx="407">
                  <c:v>1</c:v>
                </c:pt>
                <c:pt idx="408">
                  <c:v>0</c:v>
                </c:pt>
                <c:pt idx="409">
                  <c:v>3</c:v>
                </c:pt>
                <c:pt idx="410">
                  <c:v>1</c:v>
                </c:pt>
                <c:pt idx="411">
                  <c:v>3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1</c:v>
                </c:pt>
                <c:pt idx="416">
                  <c:v>2</c:v>
                </c:pt>
                <c:pt idx="417">
                  <c:v>0</c:v>
                </c:pt>
                <c:pt idx="418">
                  <c:v>2</c:v>
                </c:pt>
                <c:pt idx="419">
                  <c:v>0</c:v>
                </c:pt>
                <c:pt idx="420">
                  <c:v>5</c:v>
                </c:pt>
                <c:pt idx="421">
                  <c:v>0</c:v>
                </c:pt>
                <c:pt idx="422">
                  <c:v>2</c:v>
                </c:pt>
                <c:pt idx="423">
                  <c:v>3</c:v>
                </c:pt>
                <c:pt idx="424">
                  <c:v>6</c:v>
                </c:pt>
                <c:pt idx="425">
                  <c:v>1</c:v>
                </c:pt>
                <c:pt idx="426">
                  <c:v>2</c:v>
                </c:pt>
                <c:pt idx="427">
                  <c:v>2</c:v>
                </c:pt>
                <c:pt idx="428">
                  <c:v>0</c:v>
                </c:pt>
                <c:pt idx="429">
                  <c:v>1</c:v>
                </c:pt>
                <c:pt idx="430">
                  <c:v>10</c:v>
                </c:pt>
                <c:pt idx="431">
                  <c:v>6</c:v>
                </c:pt>
                <c:pt idx="432">
                  <c:v>8</c:v>
                </c:pt>
                <c:pt idx="433">
                  <c:v>4</c:v>
                </c:pt>
                <c:pt idx="434">
                  <c:v>6</c:v>
                </c:pt>
                <c:pt idx="435">
                  <c:v>2</c:v>
                </c:pt>
                <c:pt idx="436">
                  <c:v>2</c:v>
                </c:pt>
                <c:pt idx="437">
                  <c:v>2</c:v>
                </c:pt>
                <c:pt idx="438">
                  <c:v>10</c:v>
                </c:pt>
                <c:pt idx="439">
                  <c:v>7</c:v>
                </c:pt>
                <c:pt idx="440">
                  <c:v>6</c:v>
                </c:pt>
                <c:pt idx="441">
                  <c:v>12</c:v>
                </c:pt>
                <c:pt idx="442">
                  <c:v>3</c:v>
                </c:pt>
                <c:pt idx="443">
                  <c:v>3</c:v>
                </c:pt>
                <c:pt idx="444">
                  <c:v>7</c:v>
                </c:pt>
                <c:pt idx="445">
                  <c:v>12</c:v>
                </c:pt>
                <c:pt idx="446">
                  <c:v>5</c:v>
                </c:pt>
                <c:pt idx="447">
                  <c:v>7</c:v>
                </c:pt>
                <c:pt idx="448">
                  <c:v>6</c:v>
                </c:pt>
                <c:pt idx="449">
                  <c:v>2</c:v>
                </c:pt>
                <c:pt idx="450">
                  <c:v>2</c:v>
                </c:pt>
                <c:pt idx="451">
                  <c:v>11</c:v>
                </c:pt>
                <c:pt idx="452">
                  <c:v>6</c:v>
                </c:pt>
                <c:pt idx="453">
                  <c:v>8</c:v>
                </c:pt>
                <c:pt idx="454">
                  <c:v>3</c:v>
                </c:pt>
                <c:pt idx="455">
                  <c:v>6</c:v>
                </c:pt>
                <c:pt idx="456">
                  <c:v>1</c:v>
                </c:pt>
                <c:pt idx="457">
                  <c:v>5</c:v>
                </c:pt>
                <c:pt idx="458">
                  <c:v>5</c:v>
                </c:pt>
                <c:pt idx="459">
                  <c:v>15</c:v>
                </c:pt>
                <c:pt idx="460">
                  <c:v>8</c:v>
                </c:pt>
                <c:pt idx="461">
                  <c:v>7</c:v>
                </c:pt>
                <c:pt idx="462">
                  <c:v>5</c:v>
                </c:pt>
                <c:pt idx="463">
                  <c:v>1</c:v>
                </c:pt>
                <c:pt idx="464">
                  <c:v>1</c:v>
                </c:pt>
                <c:pt idx="465">
                  <c:v>4</c:v>
                </c:pt>
                <c:pt idx="466">
                  <c:v>5</c:v>
                </c:pt>
                <c:pt idx="467">
                  <c:v>5</c:v>
                </c:pt>
                <c:pt idx="468">
                  <c:v>2</c:v>
                </c:pt>
                <c:pt idx="469">
                  <c:v>0</c:v>
                </c:pt>
                <c:pt idx="470">
                  <c:v>3</c:v>
                </c:pt>
                <c:pt idx="471">
                  <c:v>2</c:v>
                </c:pt>
                <c:pt idx="472">
                  <c:v>4</c:v>
                </c:pt>
                <c:pt idx="473">
                  <c:v>5</c:v>
                </c:pt>
                <c:pt idx="474">
                  <c:v>2</c:v>
                </c:pt>
                <c:pt idx="475">
                  <c:v>4</c:v>
                </c:pt>
                <c:pt idx="476">
                  <c:v>5</c:v>
                </c:pt>
                <c:pt idx="477">
                  <c:v>2</c:v>
                </c:pt>
                <c:pt idx="478">
                  <c:v>1</c:v>
                </c:pt>
                <c:pt idx="479">
                  <c:v>5</c:v>
                </c:pt>
                <c:pt idx="480">
                  <c:v>3</c:v>
                </c:pt>
                <c:pt idx="481">
                  <c:v>2</c:v>
                </c:pt>
                <c:pt idx="482">
                  <c:v>0</c:v>
                </c:pt>
                <c:pt idx="48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40874970922984E-2"/>
          <c:y val="3.3230967698252123E-2"/>
          <c:w val="0.95352420550495698"/>
          <c:h val="0.9122477943279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85</c:f>
              <c:numCache>
                <c:formatCode>m/d/yyyy</c:formatCode>
                <c:ptCount val="484"/>
                <c:pt idx="1">
                  <c:v>44075</c:v>
                </c:pt>
                <c:pt idx="2">
                  <c:v>44078</c:v>
                </c:pt>
                <c:pt idx="3">
                  <c:v>44082</c:v>
                </c:pt>
                <c:pt idx="4">
                  <c:v>44083</c:v>
                </c:pt>
                <c:pt idx="5">
                  <c:v>44084</c:v>
                </c:pt>
                <c:pt idx="6">
                  <c:v>44085</c:v>
                </c:pt>
                <c:pt idx="7">
                  <c:v>44086</c:v>
                </c:pt>
                <c:pt idx="8">
                  <c:v>44087</c:v>
                </c:pt>
                <c:pt idx="9">
                  <c:v>44088</c:v>
                </c:pt>
                <c:pt idx="10">
                  <c:v>44089</c:v>
                </c:pt>
                <c:pt idx="11">
                  <c:v>44090</c:v>
                </c:pt>
                <c:pt idx="12">
                  <c:v>44091</c:v>
                </c:pt>
                <c:pt idx="13">
                  <c:v>44092</c:v>
                </c:pt>
                <c:pt idx="14">
                  <c:v>44093</c:v>
                </c:pt>
                <c:pt idx="15">
                  <c:v>44094</c:v>
                </c:pt>
                <c:pt idx="16">
                  <c:v>44095</c:v>
                </c:pt>
                <c:pt idx="17">
                  <c:v>44096</c:v>
                </c:pt>
                <c:pt idx="18">
                  <c:v>44097</c:v>
                </c:pt>
                <c:pt idx="19">
                  <c:v>44098</c:v>
                </c:pt>
                <c:pt idx="20">
                  <c:v>44099</c:v>
                </c:pt>
                <c:pt idx="21">
                  <c:v>44100</c:v>
                </c:pt>
                <c:pt idx="22">
                  <c:v>44101</c:v>
                </c:pt>
                <c:pt idx="23">
                  <c:v>44102</c:v>
                </c:pt>
                <c:pt idx="24">
                  <c:v>44103</c:v>
                </c:pt>
                <c:pt idx="25">
                  <c:v>44104</c:v>
                </c:pt>
                <c:pt idx="26">
                  <c:v>44105</c:v>
                </c:pt>
                <c:pt idx="27">
                  <c:v>44106</c:v>
                </c:pt>
                <c:pt idx="28">
                  <c:v>44107</c:v>
                </c:pt>
                <c:pt idx="29">
                  <c:v>44108</c:v>
                </c:pt>
                <c:pt idx="30">
                  <c:v>44109</c:v>
                </c:pt>
                <c:pt idx="31">
                  <c:v>44110</c:v>
                </c:pt>
                <c:pt idx="32">
                  <c:v>44111</c:v>
                </c:pt>
                <c:pt idx="33">
                  <c:v>44112</c:v>
                </c:pt>
                <c:pt idx="34">
                  <c:v>44113</c:v>
                </c:pt>
                <c:pt idx="35">
                  <c:v>44114</c:v>
                </c:pt>
                <c:pt idx="36">
                  <c:v>44115</c:v>
                </c:pt>
                <c:pt idx="37">
                  <c:v>44116</c:v>
                </c:pt>
                <c:pt idx="38">
                  <c:v>44117</c:v>
                </c:pt>
                <c:pt idx="39">
                  <c:v>44118</c:v>
                </c:pt>
                <c:pt idx="40">
                  <c:v>44119</c:v>
                </c:pt>
                <c:pt idx="41">
                  <c:v>44120</c:v>
                </c:pt>
                <c:pt idx="42">
                  <c:v>44121</c:v>
                </c:pt>
                <c:pt idx="43">
                  <c:v>44122</c:v>
                </c:pt>
                <c:pt idx="44">
                  <c:v>44123</c:v>
                </c:pt>
                <c:pt idx="45">
                  <c:v>44124</c:v>
                </c:pt>
                <c:pt idx="46">
                  <c:v>44125</c:v>
                </c:pt>
                <c:pt idx="47">
                  <c:v>44126</c:v>
                </c:pt>
                <c:pt idx="48">
                  <c:v>44127</c:v>
                </c:pt>
                <c:pt idx="49">
                  <c:v>44128</c:v>
                </c:pt>
                <c:pt idx="50">
                  <c:v>44129</c:v>
                </c:pt>
                <c:pt idx="51">
                  <c:v>44130</c:v>
                </c:pt>
                <c:pt idx="52">
                  <c:v>44131</c:v>
                </c:pt>
                <c:pt idx="53">
                  <c:v>44132</c:v>
                </c:pt>
                <c:pt idx="54">
                  <c:v>44133</c:v>
                </c:pt>
                <c:pt idx="55">
                  <c:v>44134</c:v>
                </c:pt>
                <c:pt idx="56">
                  <c:v>44135</c:v>
                </c:pt>
                <c:pt idx="57">
                  <c:v>44136</c:v>
                </c:pt>
                <c:pt idx="58">
                  <c:v>44137</c:v>
                </c:pt>
                <c:pt idx="59">
                  <c:v>44138</c:v>
                </c:pt>
                <c:pt idx="60">
                  <c:v>44139</c:v>
                </c:pt>
                <c:pt idx="61">
                  <c:v>44140</c:v>
                </c:pt>
                <c:pt idx="62">
                  <c:v>44141</c:v>
                </c:pt>
                <c:pt idx="63">
                  <c:v>44142</c:v>
                </c:pt>
                <c:pt idx="64">
                  <c:v>44143</c:v>
                </c:pt>
                <c:pt idx="65">
                  <c:v>44144</c:v>
                </c:pt>
                <c:pt idx="66">
                  <c:v>44145</c:v>
                </c:pt>
                <c:pt idx="67">
                  <c:v>44146</c:v>
                </c:pt>
                <c:pt idx="68">
                  <c:v>44147</c:v>
                </c:pt>
                <c:pt idx="69">
                  <c:v>44148</c:v>
                </c:pt>
                <c:pt idx="70">
                  <c:v>44149</c:v>
                </c:pt>
                <c:pt idx="71">
                  <c:v>44150</c:v>
                </c:pt>
                <c:pt idx="72">
                  <c:v>44151</c:v>
                </c:pt>
                <c:pt idx="73">
                  <c:v>44152</c:v>
                </c:pt>
                <c:pt idx="74">
                  <c:v>44153</c:v>
                </c:pt>
                <c:pt idx="75">
                  <c:v>44154</c:v>
                </c:pt>
                <c:pt idx="76">
                  <c:v>44155</c:v>
                </c:pt>
                <c:pt idx="77">
                  <c:v>44156</c:v>
                </c:pt>
                <c:pt idx="78">
                  <c:v>44157</c:v>
                </c:pt>
                <c:pt idx="79">
                  <c:v>44158</c:v>
                </c:pt>
                <c:pt idx="80">
                  <c:v>44159</c:v>
                </c:pt>
                <c:pt idx="81">
                  <c:v>44160</c:v>
                </c:pt>
                <c:pt idx="82">
                  <c:v>44161</c:v>
                </c:pt>
                <c:pt idx="83">
                  <c:v>44162</c:v>
                </c:pt>
                <c:pt idx="84">
                  <c:v>44163</c:v>
                </c:pt>
                <c:pt idx="85">
                  <c:v>44164</c:v>
                </c:pt>
                <c:pt idx="86">
                  <c:v>44165</c:v>
                </c:pt>
                <c:pt idx="87">
                  <c:v>44166</c:v>
                </c:pt>
                <c:pt idx="88">
                  <c:v>44167</c:v>
                </c:pt>
                <c:pt idx="89">
                  <c:v>44168</c:v>
                </c:pt>
                <c:pt idx="90">
                  <c:v>44169</c:v>
                </c:pt>
                <c:pt idx="91">
                  <c:v>44170</c:v>
                </c:pt>
                <c:pt idx="92">
                  <c:v>44171</c:v>
                </c:pt>
                <c:pt idx="93">
                  <c:v>44172</c:v>
                </c:pt>
                <c:pt idx="94">
                  <c:v>44173</c:v>
                </c:pt>
                <c:pt idx="95">
                  <c:v>44174</c:v>
                </c:pt>
                <c:pt idx="96">
                  <c:v>44175</c:v>
                </c:pt>
                <c:pt idx="97">
                  <c:v>44176</c:v>
                </c:pt>
                <c:pt idx="98">
                  <c:v>44177</c:v>
                </c:pt>
                <c:pt idx="99">
                  <c:v>44178</c:v>
                </c:pt>
                <c:pt idx="100">
                  <c:v>44179</c:v>
                </c:pt>
                <c:pt idx="101">
                  <c:v>44180</c:v>
                </c:pt>
                <c:pt idx="102">
                  <c:v>44181</c:v>
                </c:pt>
                <c:pt idx="103">
                  <c:v>44182</c:v>
                </c:pt>
                <c:pt idx="104">
                  <c:v>44183</c:v>
                </c:pt>
                <c:pt idx="105">
                  <c:v>44184</c:v>
                </c:pt>
                <c:pt idx="106">
                  <c:v>44185</c:v>
                </c:pt>
                <c:pt idx="107">
                  <c:v>44186</c:v>
                </c:pt>
                <c:pt idx="108">
                  <c:v>44187</c:v>
                </c:pt>
                <c:pt idx="109">
                  <c:v>44188</c:v>
                </c:pt>
                <c:pt idx="110">
                  <c:v>44189</c:v>
                </c:pt>
                <c:pt idx="111">
                  <c:v>44190</c:v>
                </c:pt>
                <c:pt idx="112">
                  <c:v>44191</c:v>
                </c:pt>
                <c:pt idx="113">
                  <c:v>44192</c:v>
                </c:pt>
                <c:pt idx="114">
                  <c:v>44193</c:v>
                </c:pt>
                <c:pt idx="115">
                  <c:v>44194</c:v>
                </c:pt>
                <c:pt idx="116">
                  <c:v>44195</c:v>
                </c:pt>
                <c:pt idx="117">
                  <c:v>44196</c:v>
                </c:pt>
                <c:pt idx="118">
                  <c:v>44197</c:v>
                </c:pt>
                <c:pt idx="119">
                  <c:v>44198</c:v>
                </c:pt>
                <c:pt idx="120">
                  <c:v>44199</c:v>
                </c:pt>
                <c:pt idx="121">
                  <c:v>44200</c:v>
                </c:pt>
                <c:pt idx="122">
                  <c:v>44201</c:v>
                </c:pt>
                <c:pt idx="123">
                  <c:v>44202</c:v>
                </c:pt>
                <c:pt idx="124">
                  <c:v>44203</c:v>
                </c:pt>
                <c:pt idx="125">
                  <c:v>44204</c:v>
                </c:pt>
                <c:pt idx="126">
                  <c:v>44205</c:v>
                </c:pt>
                <c:pt idx="127">
                  <c:v>44206</c:v>
                </c:pt>
                <c:pt idx="128">
                  <c:v>44207</c:v>
                </c:pt>
                <c:pt idx="129">
                  <c:v>44208</c:v>
                </c:pt>
                <c:pt idx="130">
                  <c:v>44209</c:v>
                </c:pt>
                <c:pt idx="131">
                  <c:v>44210</c:v>
                </c:pt>
                <c:pt idx="132">
                  <c:v>44211</c:v>
                </c:pt>
                <c:pt idx="133">
                  <c:v>44212</c:v>
                </c:pt>
                <c:pt idx="134">
                  <c:v>44213</c:v>
                </c:pt>
                <c:pt idx="135">
                  <c:v>44214</c:v>
                </c:pt>
                <c:pt idx="136">
                  <c:v>44215</c:v>
                </c:pt>
                <c:pt idx="137">
                  <c:v>44216</c:v>
                </c:pt>
                <c:pt idx="138">
                  <c:v>44217</c:v>
                </c:pt>
                <c:pt idx="139">
                  <c:v>44218</c:v>
                </c:pt>
                <c:pt idx="140">
                  <c:v>44219</c:v>
                </c:pt>
                <c:pt idx="141">
                  <c:v>44220</c:v>
                </c:pt>
                <c:pt idx="142">
                  <c:v>44221</c:v>
                </c:pt>
                <c:pt idx="143">
                  <c:v>44222</c:v>
                </c:pt>
                <c:pt idx="144">
                  <c:v>44223</c:v>
                </c:pt>
                <c:pt idx="145">
                  <c:v>44224</c:v>
                </c:pt>
                <c:pt idx="146">
                  <c:v>44225</c:v>
                </c:pt>
                <c:pt idx="147">
                  <c:v>44226</c:v>
                </c:pt>
                <c:pt idx="148">
                  <c:v>44227</c:v>
                </c:pt>
                <c:pt idx="149">
                  <c:v>44228</c:v>
                </c:pt>
                <c:pt idx="150">
                  <c:v>44229</c:v>
                </c:pt>
                <c:pt idx="151">
                  <c:v>44230</c:v>
                </c:pt>
                <c:pt idx="152">
                  <c:v>44231</c:v>
                </c:pt>
                <c:pt idx="153">
                  <c:v>44232</c:v>
                </c:pt>
                <c:pt idx="154">
                  <c:v>44233</c:v>
                </c:pt>
                <c:pt idx="155">
                  <c:v>44234</c:v>
                </c:pt>
                <c:pt idx="156">
                  <c:v>44235</c:v>
                </c:pt>
                <c:pt idx="157">
                  <c:v>44236</c:v>
                </c:pt>
                <c:pt idx="158">
                  <c:v>44237</c:v>
                </c:pt>
                <c:pt idx="159">
                  <c:v>44238</c:v>
                </c:pt>
                <c:pt idx="160">
                  <c:v>44239</c:v>
                </c:pt>
                <c:pt idx="161">
                  <c:v>44240</c:v>
                </c:pt>
                <c:pt idx="162">
                  <c:v>44241</c:v>
                </c:pt>
                <c:pt idx="163">
                  <c:v>44242</c:v>
                </c:pt>
                <c:pt idx="164">
                  <c:v>44243</c:v>
                </c:pt>
                <c:pt idx="165">
                  <c:v>44244</c:v>
                </c:pt>
                <c:pt idx="166">
                  <c:v>44245</c:v>
                </c:pt>
                <c:pt idx="167">
                  <c:v>44246</c:v>
                </c:pt>
                <c:pt idx="168">
                  <c:v>44247</c:v>
                </c:pt>
                <c:pt idx="169">
                  <c:v>44248</c:v>
                </c:pt>
                <c:pt idx="170">
                  <c:v>44249</c:v>
                </c:pt>
                <c:pt idx="171">
                  <c:v>44250</c:v>
                </c:pt>
                <c:pt idx="172">
                  <c:v>44251</c:v>
                </c:pt>
                <c:pt idx="173">
                  <c:v>44252</c:v>
                </c:pt>
                <c:pt idx="174">
                  <c:v>44253</c:v>
                </c:pt>
                <c:pt idx="175">
                  <c:v>44254</c:v>
                </c:pt>
                <c:pt idx="176">
                  <c:v>44255</c:v>
                </c:pt>
                <c:pt idx="177">
                  <c:v>44256</c:v>
                </c:pt>
                <c:pt idx="178">
                  <c:v>44257</c:v>
                </c:pt>
                <c:pt idx="179">
                  <c:v>44258</c:v>
                </c:pt>
                <c:pt idx="180">
                  <c:v>44259</c:v>
                </c:pt>
                <c:pt idx="181">
                  <c:v>44260</c:v>
                </c:pt>
                <c:pt idx="182">
                  <c:v>44261</c:v>
                </c:pt>
                <c:pt idx="183">
                  <c:v>44262</c:v>
                </c:pt>
                <c:pt idx="184">
                  <c:v>44263</c:v>
                </c:pt>
                <c:pt idx="185">
                  <c:v>44264</c:v>
                </c:pt>
                <c:pt idx="186">
                  <c:v>44265</c:v>
                </c:pt>
                <c:pt idx="187">
                  <c:v>44266</c:v>
                </c:pt>
                <c:pt idx="188">
                  <c:v>44267</c:v>
                </c:pt>
                <c:pt idx="189">
                  <c:v>44268</c:v>
                </c:pt>
                <c:pt idx="190">
                  <c:v>44269</c:v>
                </c:pt>
                <c:pt idx="191">
                  <c:v>44270</c:v>
                </c:pt>
                <c:pt idx="192">
                  <c:v>44271</c:v>
                </c:pt>
                <c:pt idx="193">
                  <c:v>44272</c:v>
                </c:pt>
                <c:pt idx="194">
                  <c:v>44273</c:v>
                </c:pt>
                <c:pt idx="195">
                  <c:v>44274</c:v>
                </c:pt>
                <c:pt idx="196">
                  <c:v>44275</c:v>
                </c:pt>
                <c:pt idx="197">
                  <c:v>44276</c:v>
                </c:pt>
                <c:pt idx="198">
                  <c:v>44277</c:v>
                </c:pt>
                <c:pt idx="199">
                  <c:v>44278</c:v>
                </c:pt>
                <c:pt idx="200">
                  <c:v>44279</c:v>
                </c:pt>
                <c:pt idx="201">
                  <c:v>44280</c:v>
                </c:pt>
                <c:pt idx="202">
                  <c:v>44281</c:v>
                </c:pt>
                <c:pt idx="203">
                  <c:v>44282</c:v>
                </c:pt>
                <c:pt idx="204">
                  <c:v>44283</c:v>
                </c:pt>
                <c:pt idx="205">
                  <c:v>44284</c:v>
                </c:pt>
                <c:pt idx="206">
                  <c:v>44285</c:v>
                </c:pt>
                <c:pt idx="207">
                  <c:v>44286</c:v>
                </c:pt>
                <c:pt idx="208">
                  <c:v>44287</c:v>
                </c:pt>
                <c:pt idx="209">
                  <c:v>44288</c:v>
                </c:pt>
                <c:pt idx="210">
                  <c:v>44289</c:v>
                </c:pt>
                <c:pt idx="211">
                  <c:v>44290</c:v>
                </c:pt>
                <c:pt idx="212">
                  <c:v>44291</c:v>
                </c:pt>
                <c:pt idx="213">
                  <c:v>44292</c:v>
                </c:pt>
                <c:pt idx="214">
                  <c:v>44293</c:v>
                </c:pt>
                <c:pt idx="215">
                  <c:v>44294</c:v>
                </c:pt>
                <c:pt idx="216">
                  <c:v>44295</c:v>
                </c:pt>
                <c:pt idx="217">
                  <c:v>44296</c:v>
                </c:pt>
                <c:pt idx="218">
                  <c:v>44297</c:v>
                </c:pt>
                <c:pt idx="219">
                  <c:v>44298</c:v>
                </c:pt>
                <c:pt idx="220">
                  <c:v>44299</c:v>
                </c:pt>
                <c:pt idx="221">
                  <c:v>44300</c:v>
                </c:pt>
                <c:pt idx="222">
                  <c:v>44301</c:v>
                </c:pt>
                <c:pt idx="223">
                  <c:v>44302</c:v>
                </c:pt>
                <c:pt idx="224">
                  <c:v>44303</c:v>
                </c:pt>
                <c:pt idx="225">
                  <c:v>44304</c:v>
                </c:pt>
                <c:pt idx="226">
                  <c:v>44305</c:v>
                </c:pt>
                <c:pt idx="227">
                  <c:v>44306</c:v>
                </c:pt>
                <c:pt idx="228">
                  <c:v>44307</c:v>
                </c:pt>
                <c:pt idx="229">
                  <c:v>44308</c:v>
                </c:pt>
                <c:pt idx="230">
                  <c:v>44309</c:v>
                </c:pt>
                <c:pt idx="231">
                  <c:v>44310</c:v>
                </c:pt>
                <c:pt idx="232">
                  <c:v>44312</c:v>
                </c:pt>
                <c:pt idx="233">
                  <c:v>44313</c:v>
                </c:pt>
                <c:pt idx="234">
                  <c:v>44314</c:v>
                </c:pt>
                <c:pt idx="235">
                  <c:v>44315</c:v>
                </c:pt>
                <c:pt idx="236">
                  <c:v>44316</c:v>
                </c:pt>
                <c:pt idx="237">
                  <c:v>44317</c:v>
                </c:pt>
                <c:pt idx="238">
                  <c:v>44318</c:v>
                </c:pt>
                <c:pt idx="239">
                  <c:v>44319</c:v>
                </c:pt>
                <c:pt idx="240">
                  <c:v>44320</c:v>
                </c:pt>
                <c:pt idx="241">
                  <c:v>44321</c:v>
                </c:pt>
                <c:pt idx="242">
                  <c:v>44322</c:v>
                </c:pt>
                <c:pt idx="243">
                  <c:v>44323</c:v>
                </c:pt>
                <c:pt idx="244">
                  <c:v>44324</c:v>
                </c:pt>
                <c:pt idx="245">
                  <c:v>44325</c:v>
                </c:pt>
                <c:pt idx="246">
                  <c:v>44326</c:v>
                </c:pt>
                <c:pt idx="247">
                  <c:v>44327</c:v>
                </c:pt>
                <c:pt idx="248">
                  <c:v>44329</c:v>
                </c:pt>
                <c:pt idx="249">
                  <c:v>44330</c:v>
                </c:pt>
                <c:pt idx="250">
                  <c:v>44331</c:v>
                </c:pt>
                <c:pt idx="251">
                  <c:v>44333</c:v>
                </c:pt>
                <c:pt idx="252">
                  <c:v>44334</c:v>
                </c:pt>
                <c:pt idx="253">
                  <c:v>44335</c:v>
                </c:pt>
                <c:pt idx="254">
                  <c:v>44336</c:v>
                </c:pt>
                <c:pt idx="255">
                  <c:v>44337</c:v>
                </c:pt>
                <c:pt idx="256">
                  <c:v>44340</c:v>
                </c:pt>
                <c:pt idx="257">
                  <c:v>44341</c:v>
                </c:pt>
                <c:pt idx="258">
                  <c:v>44342</c:v>
                </c:pt>
                <c:pt idx="259">
                  <c:v>44343</c:v>
                </c:pt>
                <c:pt idx="260">
                  <c:v>44347</c:v>
                </c:pt>
                <c:pt idx="261">
                  <c:v>44349</c:v>
                </c:pt>
                <c:pt idx="262">
                  <c:v>44350</c:v>
                </c:pt>
                <c:pt idx="263">
                  <c:v>44354</c:v>
                </c:pt>
                <c:pt idx="264">
                  <c:v>44358</c:v>
                </c:pt>
                <c:pt idx="265">
                  <c:v>44359</c:v>
                </c:pt>
                <c:pt idx="266">
                  <c:v>44364</c:v>
                </c:pt>
                <c:pt idx="267">
                  <c:v>44370</c:v>
                </c:pt>
                <c:pt idx="268">
                  <c:v>44371</c:v>
                </c:pt>
                <c:pt idx="269">
                  <c:v>44372</c:v>
                </c:pt>
                <c:pt idx="270">
                  <c:v>44375</c:v>
                </c:pt>
                <c:pt idx="271">
                  <c:v>44377</c:v>
                </c:pt>
                <c:pt idx="272">
                  <c:v>44378</c:v>
                </c:pt>
                <c:pt idx="273">
                  <c:v>44381</c:v>
                </c:pt>
                <c:pt idx="274">
                  <c:v>44383</c:v>
                </c:pt>
                <c:pt idx="275">
                  <c:v>44384</c:v>
                </c:pt>
                <c:pt idx="276">
                  <c:v>44385</c:v>
                </c:pt>
                <c:pt idx="277">
                  <c:v>44388</c:v>
                </c:pt>
                <c:pt idx="278">
                  <c:v>44398</c:v>
                </c:pt>
                <c:pt idx="279">
                  <c:v>44401</c:v>
                </c:pt>
                <c:pt idx="280">
                  <c:v>44404</c:v>
                </c:pt>
                <c:pt idx="281">
                  <c:v>44405</c:v>
                </c:pt>
                <c:pt idx="282">
                  <c:v>44407</c:v>
                </c:pt>
                <c:pt idx="283">
                  <c:v>44416</c:v>
                </c:pt>
                <c:pt idx="284">
                  <c:v>44419</c:v>
                </c:pt>
                <c:pt idx="285">
                  <c:v>44423</c:v>
                </c:pt>
                <c:pt idx="286">
                  <c:v>44424</c:v>
                </c:pt>
                <c:pt idx="287">
                  <c:v>44425</c:v>
                </c:pt>
                <c:pt idx="288">
                  <c:v>44427</c:v>
                </c:pt>
                <c:pt idx="289">
                  <c:v>44431</c:v>
                </c:pt>
                <c:pt idx="290">
                  <c:v>44434</c:v>
                </c:pt>
                <c:pt idx="291">
                  <c:v>44435</c:v>
                </c:pt>
                <c:pt idx="292">
                  <c:v>44436</c:v>
                </c:pt>
                <c:pt idx="293">
                  <c:v>44437</c:v>
                </c:pt>
                <c:pt idx="294">
                  <c:v>44440</c:v>
                </c:pt>
                <c:pt idx="295">
                  <c:v>44441</c:v>
                </c:pt>
                <c:pt idx="296">
                  <c:v>44442</c:v>
                </c:pt>
                <c:pt idx="297">
                  <c:v>44443</c:v>
                </c:pt>
                <c:pt idx="298">
                  <c:v>44445</c:v>
                </c:pt>
                <c:pt idx="299">
                  <c:v>44446</c:v>
                </c:pt>
                <c:pt idx="300">
                  <c:v>44447</c:v>
                </c:pt>
                <c:pt idx="301">
                  <c:v>44448</c:v>
                </c:pt>
                <c:pt idx="302">
                  <c:v>44449</c:v>
                </c:pt>
                <c:pt idx="303">
                  <c:v>44451</c:v>
                </c:pt>
                <c:pt idx="304">
                  <c:v>44452</c:v>
                </c:pt>
                <c:pt idx="305">
                  <c:v>44453</c:v>
                </c:pt>
                <c:pt idx="306">
                  <c:v>44457</c:v>
                </c:pt>
                <c:pt idx="307">
                  <c:v>44459</c:v>
                </c:pt>
                <c:pt idx="308">
                  <c:v>44460</c:v>
                </c:pt>
                <c:pt idx="309">
                  <c:v>44461</c:v>
                </c:pt>
                <c:pt idx="310">
                  <c:v>44464</c:v>
                </c:pt>
                <c:pt idx="311">
                  <c:v>44465</c:v>
                </c:pt>
                <c:pt idx="312">
                  <c:v>44466</c:v>
                </c:pt>
                <c:pt idx="313">
                  <c:v>44467</c:v>
                </c:pt>
                <c:pt idx="314">
                  <c:v>44468</c:v>
                </c:pt>
                <c:pt idx="315">
                  <c:v>44469</c:v>
                </c:pt>
                <c:pt idx="316">
                  <c:v>44470</c:v>
                </c:pt>
                <c:pt idx="317">
                  <c:v>44471</c:v>
                </c:pt>
                <c:pt idx="318">
                  <c:v>44472</c:v>
                </c:pt>
                <c:pt idx="319">
                  <c:v>44473</c:v>
                </c:pt>
                <c:pt idx="320">
                  <c:v>44474</c:v>
                </c:pt>
                <c:pt idx="321">
                  <c:v>44475</c:v>
                </c:pt>
                <c:pt idx="322">
                  <c:v>44476</c:v>
                </c:pt>
                <c:pt idx="323">
                  <c:v>44477</c:v>
                </c:pt>
                <c:pt idx="324">
                  <c:v>44478</c:v>
                </c:pt>
                <c:pt idx="325">
                  <c:v>44480</c:v>
                </c:pt>
                <c:pt idx="326">
                  <c:v>44481</c:v>
                </c:pt>
                <c:pt idx="327">
                  <c:v>44482</c:v>
                </c:pt>
                <c:pt idx="328">
                  <c:v>44483</c:v>
                </c:pt>
                <c:pt idx="329">
                  <c:v>44484</c:v>
                </c:pt>
                <c:pt idx="330">
                  <c:v>44485</c:v>
                </c:pt>
                <c:pt idx="331">
                  <c:v>44486</c:v>
                </c:pt>
                <c:pt idx="332">
                  <c:v>44487</c:v>
                </c:pt>
                <c:pt idx="333">
                  <c:v>44488</c:v>
                </c:pt>
                <c:pt idx="334">
                  <c:v>44489</c:v>
                </c:pt>
                <c:pt idx="335">
                  <c:v>44490</c:v>
                </c:pt>
                <c:pt idx="336">
                  <c:v>44491</c:v>
                </c:pt>
                <c:pt idx="337">
                  <c:v>44492</c:v>
                </c:pt>
                <c:pt idx="338">
                  <c:v>44493</c:v>
                </c:pt>
                <c:pt idx="339">
                  <c:v>44494</c:v>
                </c:pt>
                <c:pt idx="340">
                  <c:v>44495</c:v>
                </c:pt>
                <c:pt idx="341">
                  <c:v>44496</c:v>
                </c:pt>
                <c:pt idx="342">
                  <c:v>44497</c:v>
                </c:pt>
                <c:pt idx="343">
                  <c:v>44498</c:v>
                </c:pt>
                <c:pt idx="344">
                  <c:v>44499</c:v>
                </c:pt>
                <c:pt idx="345">
                  <c:v>44500</c:v>
                </c:pt>
                <c:pt idx="346">
                  <c:v>44501</c:v>
                </c:pt>
                <c:pt idx="347">
                  <c:v>44502</c:v>
                </c:pt>
                <c:pt idx="348">
                  <c:v>44503</c:v>
                </c:pt>
                <c:pt idx="349">
                  <c:v>44504</c:v>
                </c:pt>
                <c:pt idx="350">
                  <c:v>44505</c:v>
                </c:pt>
                <c:pt idx="351">
                  <c:v>44506</c:v>
                </c:pt>
                <c:pt idx="352">
                  <c:v>44507</c:v>
                </c:pt>
                <c:pt idx="353">
                  <c:v>44508</c:v>
                </c:pt>
                <c:pt idx="354">
                  <c:v>44509</c:v>
                </c:pt>
                <c:pt idx="355">
                  <c:v>44510</c:v>
                </c:pt>
                <c:pt idx="356">
                  <c:v>44511</c:v>
                </c:pt>
                <c:pt idx="357">
                  <c:v>44512</c:v>
                </c:pt>
                <c:pt idx="358">
                  <c:v>44513</c:v>
                </c:pt>
                <c:pt idx="359">
                  <c:v>44514</c:v>
                </c:pt>
                <c:pt idx="360">
                  <c:v>44515</c:v>
                </c:pt>
                <c:pt idx="361">
                  <c:v>44516</c:v>
                </c:pt>
                <c:pt idx="362">
                  <c:v>44517</c:v>
                </c:pt>
                <c:pt idx="363">
                  <c:v>44518</c:v>
                </c:pt>
                <c:pt idx="364">
                  <c:v>44519</c:v>
                </c:pt>
                <c:pt idx="365">
                  <c:v>44520</c:v>
                </c:pt>
                <c:pt idx="366">
                  <c:v>44521</c:v>
                </c:pt>
                <c:pt idx="367">
                  <c:v>44522</c:v>
                </c:pt>
                <c:pt idx="368">
                  <c:v>44523</c:v>
                </c:pt>
                <c:pt idx="369">
                  <c:v>44524</c:v>
                </c:pt>
                <c:pt idx="370">
                  <c:v>44525</c:v>
                </c:pt>
                <c:pt idx="371">
                  <c:v>44526</c:v>
                </c:pt>
                <c:pt idx="372">
                  <c:v>44527</c:v>
                </c:pt>
                <c:pt idx="373">
                  <c:v>44528</c:v>
                </c:pt>
                <c:pt idx="374">
                  <c:v>44529</c:v>
                </c:pt>
                <c:pt idx="375">
                  <c:v>44530</c:v>
                </c:pt>
                <c:pt idx="376">
                  <c:v>44531</c:v>
                </c:pt>
                <c:pt idx="377">
                  <c:v>44532</c:v>
                </c:pt>
                <c:pt idx="378">
                  <c:v>44533</c:v>
                </c:pt>
                <c:pt idx="379">
                  <c:v>44534</c:v>
                </c:pt>
                <c:pt idx="380">
                  <c:v>44535</c:v>
                </c:pt>
                <c:pt idx="381">
                  <c:v>44536</c:v>
                </c:pt>
                <c:pt idx="382">
                  <c:v>44537</c:v>
                </c:pt>
                <c:pt idx="383">
                  <c:v>44538</c:v>
                </c:pt>
                <c:pt idx="384">
                  <c:v>44539</c:v>
                </c:pt>
                <c:pt idx="385">
                  <c:v>44540</c:v>
                </c:pt>
                <c:pt idx="386">
                  <c:v>44541</c:v>
                </c:pt>
                <c:pt idx="387">
                  <c:v>44542</c:v>
                </c:pt>
                <c:pt idx="388">
                  <c:v>44543</c:v>
                </c:pt>
                <c:pt idx="389">
                  <c:v>44544</c:v>
                </c:pt>
                <c:pt idx="390">
                  <c:v>44545</c:v>
                </c:pt>
                <c:pt idx="391">
                  <c:v>44546</c:v>
                </c:pt>
                <c:pt idx="392">
                  <c:v>44547</c:v>
                </c:pt>
                <c:pt idx="393">
                  <c:v>44548</c:v>
                </c:pt>
                <c:pt idx="394">
                  <c:v>44549</c:v>
                </c:pt>
                <c:pt idx="395">
                  <c:v>44550</c:v>
                </c:pt>
                <c:pt idx="396">
                  <c:v>44551</c:v>
                </c:pt>
                <c:pt idx="397">
                  <c:v>44552</c:v>
                </c:pt>
                <c:pt idx="398">
                  <c:v>44553</c:v>
                </c:pt>
                <c:pt idx="399">
                  <c:v>44554</c:v>
                </c:pt>
                <c:pt idx="400">
                  <c:v>44555</c:v>
                </c:pt>
                <c:pt idx="401">
                  <c:v>44556</c:v>
                </c:pt>
                <c:pt idx="402">
                  <c:v>44557</c:v>
                </c:pt>
                <c:pt idx="403">
                  <c:v>44558</c:v>
                </c:pt>
                <c:pt idx="404">
                  <c:v>44559</c:v>
                </c:pt>
                <c:pt idx="405">
                  <c:v>44560</c:v>
                </c:pt>
                <c:pt idx="406">
                  <c:v>44561</c:v>
                </c:pt>
                <c:pt idx="407">
                  <c:v>44562</c:v>
                </c:pt>
                <c:pt idx="408">
                  <c:v>44563</c:v>
                </c:pt>
                <c:pt idx="409">
                  <c:v>44564</c:v>
                </c:pt>
                <c:pt idx="410">
                  <c:v>44565</c:v>
                </c:pt>
                <c:pt idx="411">
                  <c:v>44566</c:v>
                </c:pt>
                <c:pt idx="412">
                  <c:v>44567</c:v>
                </c:pt>
                <c:pt idx="413">
                  <c:v>44568</c:v>
                </c:pt>
                <c:pt idx="414">
                  <c:v>44569</c:v>
                </c:pt>
                <c:pt idx="415">
                  <c:v>44570</c:v>
                </c:pt>
                <c:pt idx="416">
                  <c:v>44571</c:v>
                </c:pt>
                <c:pt idx="417">
                  <c:v>44572</c:v>
                </c:pt>
                <c:pt idx="418">
                  <c:v>44573</c:v>
                </c:pt>
                <c:pt idx="419">
                  <c:v>44574</c:v>
                </c:pt>
                <c:pt idx="420">
                  <c:v>44575</c:v>
                </c:pt>
                <c:pt idx="421">
                  <c:v>44576</c:v>
                </c:pt>
                <c:pt idx="422">
                  <c:v>44577</c:v>
                </c:pt>
                <c:pt idx="423">
                  <c:v>44578</c:v>
                </c:pt>
                <c:pt idx="424">
                  <c:v>44579</c:v>
                </c:pt>
                <c:pt idx="425">
                  <c:v>44580</c:v>
                </c:pt>
                <c:pt idx="426">
                  <c:v>44581</c:v>
                </c:pt>
                <c:pt idx="427">
                  <c:v>44582</c:v>
                </c:pt>
                <c:pt idx="428">
                  <c:v>44583</c:v>
                </c:pt>
                <c:pt idx="429">
                  <c:v>44584</c:v>
                </c:pt>
                <c:pt idx="430">
                  <c:v>44585</c:v>
                </c:pt>
                <c:pt idx="431">
                  <c:v>44586</c:v>
                </c:pt>
                <c:pt idx="432">
                  <c:v>44587</c:v>
                </c:pt>
                <c:pt idx="433">
                  <c:v>44588</c:v>
                </c:pt>
                <c:pt idx="434">
                  <c:v>44589</c:v>
                </c:pt>
                <c:pt idx="435">
                  <c:v>44590</c:v>
                </c:pt>
                <c:pt idx="436">
                  <c:v>44591</c:v>
                </c:pt>
                <c:pt idx="437">
                  <c:v>44592</c:v>
                </c:pt>
                <c:pt idx="438">
                  <c:v>44593</c:v>
                </c:pt>
                <c:pt idx="439">
                  <c:v>44594</c:v>
                </c:pt>
                <c:pt idx="440">
                  <c:v>44595</c:v>
                </c:pt>
                <c:pt idx="441">
                  <c:v>44596</c:v>
                </c:pt>
                <c:pt idx="442">
                  <c:v>44597</c:v>
                </c:pt>
                <c:pt idx="443">
                  <c:v>44598</c:v>
                </c:pt>
                <c:pt idx="444">
                  <c:v>44599</c:v>
                </c:pt>
                <c:pt idx="445">
                  <c:v>44600</c:v>
                </c:pt>
                <c:pt idx="446">
                  <c:v>44601</c:v>
                </c:pt>
                <c:pt idx="447">
                  <c:v>44602</c:v>
                </c:pt>
                <c:pt idx="448">
                  <c:v>44603</c:v>
                </c:pt>
                <c:pt idx="449">
                  <c:v>44604</c:v>
                </c:pt>
                <c:pt idx="450">
                  <c:v>44605</c:v>
                </c:pt>
                <c:pt idx="451">
                  <c:v>44606</c:v>
                </c:pt>
                <c:pt idx="452">
                  <c:v>44607</c:v>
                </c:pt>
                <c:pt idx="453">
                  <c:v>44608</c:v>
                </c:pt>
                <c:pt idx="454">
                  <c:v>44609</c:v>
                </c:pt>
                <c:pt idx="455">
                  <c:v>44610</c:v>
                </c:pt>
                <c:pt idx="456">
                  <c:v>44611</c:v>
                </c:pt>
                <c:pt idx="457">
                  <c:v>44612</c:v>
                </c:pt>
                <c:pt idx="458">
                  <c:v>44613</c:v>
                </c:pt>
                <c:pt idx="459">
                  <c:v>44614</c:v>
                </c:pt>
                <c:pt idx="460">
                  <c:v>44615</c:v>
                </c:pt>
                <c:pt idx="461">
                  <c:v>44616</c:v>
                </c:pt>
                <c:pt idx="462">
                  <c:v>44617</c:v>
                </c:pt>
                <c:pt idx="463">
                  <c:v>44618</c:v>
                </c:pt>
                <c:pt idx="464">
                  <c:v>44619</c:v>
                </c:pt>
                <c:pt idx="465">
                  <c:v>44620</c:v>
                </c:pt>
                <c:pt idx="466">
                  <c:v>44621</c:v>
                </c:pt>
                <c:pt idx="467">
                  <c:v>44622</c:v>
                </c:pt>
                <c:pt idx="468">
                  <c:v>44623</c:v>
                </c:pt>
                <c:pt idx="469">
                  <c:v>44624</c:v>
                </c:pt>
                <c:pt idx="470">
                  <c:v>44625</c:v>
                </c:pt>
                <c:pt idx="471">
                  <c:v>44626</c:v>
                </c:pt>
                <c:pt idx="472">
                  <c:v>44627</c:v>
                </c:pt>
                <c:pt idx="473">
                  <c:v>44628</c:v>
                </c:pt>
                <c:pt idx="474">
                  <c:v>44629</c:v>
                </c:pt>
                <c:pt idx="475">
                  <c:v>44630</c:v>
                </c:pt>
                <c:pt idx="476">
                  <c:v>44631</c:v>
                </c:pt>
                <c:pt idx="477">
                  <c:v>44632</c:v>
                </c:pt>
                <c:pt idx="478">
                  <c:v>44633</c:v>
                </c:pt>
                <c:pt idx="479">
                  <c:v>44634</c:v>
                </c:pt>
                <c:pt idx="480">
                  <c:v>44635</c:v>
                </c:pt>
                <c:pt idx="481">
                  <c:v>44636</c:v>
                </c:pt>
                <c:pt idx="482">
                  <c:v>44637</c:v>
                </c:pt>
                <c:pt idx="483">
                  <c:v>44638</c:v>
                </c:pt>
              </c:numCache>
            </c:numRef>
          </c:cat>
          <c:val>
            <c:numRef>
              <c:f>Sheet1!$B$2:$B$485</c:f>
              <c:numCache>
                <c:formatCode>General</c:formatCode>
                <c:ptCount val="48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1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2</c:v>
                </c:pt>
                <c:pt idx="23">
                  <c:v>3</c:v>
                </c:pt>
                <c:pt idx="24">
                  <c:v>1</c:v>
                </c:pt>
                <c:pt idx="25">
                  <c:v>4</c:v>
                </c:pt>
                <c:pt idx="26">
                  <c:v>4</c:v>
                </c:pt>
                <c:pt idx="27">
                  <c:v>7</c:v>
                </c:pt>
                <c:pt idx="28">
                  <c:v>5</c:v>
                </c:pt>
                <c:pt idx="29">
                  <c:v>5</c:v>
                </c:pt>
                <c:pt idx="30">
                  <c:v>23</c:v>
                </c:pt>
                <c:pt idx="31">
                  <c:v>8</c:v>
                </c:pt>
                <c:pt idx="32">
                  <c:v>7</c:v>
                </c:pt>
                <c:pt idx="33">
                  <c:v>2</c:v>
                </c:pt>
                <c:pt idx="34">
                  <c:v>7</c:v>
                </c:pt>
                <c:pt idx="35">
                  <c:v>3</c:v>
                </c:pt>
                <c:pt idx="36">
                  <c:v>0</c:v>
                </c:pt>
                <c:pt idx="37">
                  <c:v>8</c:v>
                </c:pt>
                <c:pt idx="38">
                  <c:v>13</c:v>
                </c:pt>
                <c:pt idx="39">
                  <c:v>13</c:v>
                </c:pt>
                <c:pt idx="40">
                  <c:v>15</c:v>
                </c:pt>
                <c:pt idx="41">
                  <c:v>18</c:v>
                </c:pt>
                <c:pt idx="42">
                  <c:v>9</c:v>
                </c:pt>
                <c:pt idx="43">
                  <c:v>5</c:v>
                </c:pt>
                <c:pt idx="44">
                  <c:v>18</c:v>
                </c:pt>
                <c:pt idx="45">
                  <c:v>15</c:v>
                </c:pt>
                <c:pt idx="46">
                  <c:v>21</c:v>
                </c:pt>
                <c:pt idx="47">
                  <c:v>18</c:v>
                </c:pt>
                <c:pt idx="48">
                  <c:v>28</c:v>
                </c:pt>
                <c:pt idx="49">
                  <c:v>7</c:v>
                </c:pt>
                <c:pt idx="50">
                  <c:v>8</c:v>
                </c:pt>
                <c:pt idx="51">
                  <c:v>28</c:v>
                </c:pt>
                <c:pt idx="52">
                  <c:v>19</c:v>
                </c:pt>
                <c:pt idx="53">
                  <c:v>11</c:v>
                </c:pt>
                <c:pt idx="54">
                  <c:v>21</c:v>
                </c:pt>
                <c:pt idx="55">
                  <c:v>27</c:v>
                </c:pt>
                <c:pt idx="56">
                  <c:v>9</c:v>
                </c:pt>
                <c:pt idx="57">
                  <c:v>14</c:v>
                </c:pt>
                <c:pt idx="58">
                  <c:v>15</c:v>
                </c:pt>
                <c:pt idx="59">
                  <c:v>13</c:v>
                </c:pt>
                <c:pt idx="60">
                  <c:v>23</c:v>
                </c:pt>
                <c:pt idx="61">
                  <c:v>9</c:v>
                </c:pt>
                <c:pt idx="62">
                  <c:v>16</c:v>
                </c:pt>
                <c:pt idx="63">
                  <c:v>10</c:v>
                </c:pt>
                <c:pt idx="64">
                  <c:v>7</c:v>
                </c:pt>
                <c:pt idx="65">
                  <c:v>10</c:v>
                </c:pt>
                <c:pt idx="66">
                  <c:v>16</c:v>
                </c:pt>
                <c:pt idx="67">
                  <c:v>25</c:v>
                </c:pt>
                <c:pt idx="68">
                  <c:v>14</c:v>
                </c:pt>
                <c:pt idx="69">
                  <c:v>21</c:v>
                </c:pt>
                <c:pt idx="70">
                  <c:v>9</c:v>
                </c:pt>
                <c:pt idx="71">
                  <c:v>5</c:v>
                </c:pt>
                <c:pt idx="72">
                  <c:v>18</c:v>
                </c:pt>
                <c:pt idx="73">
                  <c:v>9</c:v>
                </c:pt>
                <c:pt idx="74">
                  <c:v>12</c:v>
                </c:pt>
                <c:pt idx="75">
                  <c:v>12</c:v>
                </c:pt>
                <c:pt idx="76">
                  <c:v>13</c:v>
                </c:pt>
                <c:pt idx="77">
                  <c:v>4</c:v>
                </c:pt>
                <c:pt idx="78">
                  <c:v>3</c:v>
                </c:pt>
                <c:pt idx="79">
                  <c:v>15</c:v>
                </c:pt>
                <c:pt idx="80">
                  <c:v>9</c:v>
                </c:pt>
                <c:pt idx="81">
                  <c:v>9</c:v>
                </c:pt>
                <c:pt idx="82">
                  <c:v>10</c:v>
                </c:pt>
                <c:pt idx="83">
                  <c:v>5</c:v>
                </c:pt>
                <c:pt idx="84">
                  <c:v>1</c:v>
                </c:pt>
                <c:pt idx="85">
                  <c:v>2</c:v>
                </c:pt>
                <c:pt idx="86">
                  <c:v>10</c:v>
                </c:pt>
                <c:pt idx="87">
                  <c:v>9</c:v>
                </c:pt>
                <c:pt idx="88">
                  <c:v>5</c:v>
                </c:pt>
                <c:pt idx="89">
                  <c:v>3</c:v>
                </c:pt>
                <c:pt idx="90">
                  <c:v>9</c:v>
                </c:pt>
                <c:pt idx="91">
                  <c:v>3</c:v>
                </c:pt>
                <c:pt idx="92">
                  <c:v>1</c:v>
                </c:pt>
                <c:pt idx="93">
                  <c:v>3</c:v>
                </c:pt>
                <c:pt idx="94">
                  <c:v>4</c:v>
                </c:pt>
                <c:pt idx="95">
                  <c:v>6</c:v>
                </c:pt>
                <c:pt idx="96">
                  <c:v>6</c:v>
                </c:pt>
                <c:pt idx="97">
                  <c:v>6</c:v>
                </c:pt>
                <c:pt idx="98">
                  <c:v>3</c:v>
                </c:pt>
                <c:pt idx="99">
                  <c:v>3</c:v>
                </c:pt>
                <c:pt idx="100">
                  <c:v>4</c:v>
                </c:pt>
                <c:pt idx="101">
                  <c:v>3</c:v>
                </c:pt>
                <c:pt idx="102">
                  <c:v>6</c:v>
                </c:pt>
                <c:pt idx="103">
                  <c:v>4</c:v>
                </c:pt>
                <c:pt idx="104">
                  <c:v>7</c:v>
                </c:pt>
                <c:pt idx="105">
                  <c:v>6</c:v>
                </c:pt>
                <c:pt idx="106">
                  <c:v>1</c:v>
                </c:pt>
                <c:pt idx="107">
                  <c:v>5</c:v>
                </c:pt>
                <c:pt idx="108">
                  <c:v>10</c:v>
                </c:pt>
                <c:pt idx="109">
                  <c:v>2</c:v>
                </c:pt>
                <c:pt idx="110">
                  <c:v>1</c:v>
                </c:pt>
                <c:pt idx="111">
                  <c:v>6</c:v>
                </c:pt>
                <c:pt idx="112">
                  <c:v>5</c:v>
                </c:pt>
                <c:pt idx="113">
                  <c:v>7</c:v>
                </c:pt>
                <c:pt idx="114">
                  <c:v>4</c:v>
                </c:pt>
                <c:pt idx="115">
                  <c:v>6</c:v>
                </c:pt>
                <c:pt idx="116">
                  <c:v>8</c:v>
                </c:pt>
                <c:pt idx="117">
                  <c:v>7</c:v>
                </c:pt>
                <c:pt idx="118">
                  <c:v>4</c:v>
                </c:pt>
                <c:pt idx="119">
                  <c:v>5</c:v>
                </c:pt>
                <c:pt idx="120">
                  <c:v>1</c:v>
                </c:pt>
                <c:pt idx="121">
                  <c:v>9</c:v>
                </c:pt>
                <c:pt idx="122">
                  <c:v>5</c:v>
                </c:pt>
                <c:pt idx="123">
                  <c:v>4</c:v>
                </c:pt>
                <c:pt idx="124">
                  <c:v>7</c:v>
                </c:pt>
                <c:pt idx="125">
                  <c:v>8</c:v>
                </c:pt>
                <c:pt idx="126">
                  <c:v>3</c:v>
                </c:pt>
                <c:pt idx="127">
                  <c:v>2</c:v>
                </c:pt>
                <c:pt idx="128">
                  <c:v>9</c:v>
                </c:pt>
                <c:pt idx="129">
                  <c:v>4</c:v>
                </c:pt>
                <c:pt idx="130">
                  <c:v>3</c:v>
                </c:pt>
                <c:pt idx="131">
                  <c:v>3</c:v>
                </c:pt>
                <c:pt idx="132">
                  <c:v>12</c:v>
                </c:pt>
                <c:pt idx="133">
                  <c:v>4</c:v>
                </c:pt>
                <c:pt idx="134">
                  <c:v>2</c:v>
                </c:pt>
                <c:pt idx="135">
                  <c:v>6</c:v>
                </c:pt>
                <c:pt idx="136">
                  <c:v>4</c:v>
                </c:pt>
                <c:pt idx="137">
                  <c:v>8</c:v>
                </c:pt>
                <c:pt idx="138">
                  <c:v>5</c:v>
                </c:pt>
                <c:pt idx="139">
                  <c:v>5</c:v>
                </c:pt>
                <c:pt idx="140">
                  <c:v>0</c:v>
                </c:pt>
                <c:pt idx="141">
                  <c:v>3</c:v>
                </c:pt>
                <c:pt idx="142">
                  <c:v>7</c:v>
                </c:pt>
                <c:pt idx="143">
                  <c:v>1</c:v>
                </c:pt>
                <c:pt idx="144">
                  <c:v>2</c:v>
                </c:pt>
                <c:pt idx="145">
                  <c:v>3</c:v>
                </c:pt>
                <c:pt idx="146">
                  <c:v>2</c:v>
                </c:pt>
                <c:pt idx="147">
                  <c:v>2</c:v>
                </c:pt>
                <c:pt idx="148">
                  <c:v>1</c:v>
                </c:pt>
                <c:pt idx="149">
                  <c:v>3</c:v>
                </c:pt>
                <c:pt idx="150">
                  <c:v>3</c:v>
                </c:pt>
                <c:pt idx="151">
                  <c:v>2</c:v>
                </c:pt>
                <c:pt idx="152">
                  <c:v>4</c:v>
                </c:pt>
                <c:pt idx="153">
                  <c:v>2</c:v>
                </c:pt>
                <c:pt idx="154">
                  <c:v>4</c:v>
                </c:pt>
                <c:pt idx="155">
                  <c:v>1</c:v>
                </c:pt>
                <c:pt idx="156">
                  <c:v>3</c:v>
                </c:pt>
                <c:pt idx="157">
                  <c:v>2</c:v>
                </c:pt>
                <c:pt idx="158">
                  <c:v>2</c:v>
                </c:pt>
                <c:pt idx="159">
                  <c:v>3</c:v>
                </c:pt>
                <c:pt idx="160">
                  <c:v>3</c:v>
                </c:pt>
                <c:pt idx="161">
                  <c:v>0</c:v>
                </c:pt>
                <c:pt idx="162">
                  <c:v>1</c:v>
                </c:pt>
                <c:pt idx="163">
                  <c:v>2</c:v>
                </c:pt>
                <c:pt idx="164">
                  <c:v>2</c:v>
                </c:pt>
                <c:pt idx="165">
                  <c:v>3</c:v>
                </c:pt>
                <c:pt idx="166">
                  <c:v>2</c:v>
                </c:pt>
                <c:pt idx="167">
                  <c:v>0</c:v>
                </c:pt>
                <c:pt idx="168">
                  <c:v>6</c:v>
                </c:pt>
                <c:pt idx="169">
                  <c:v>1</c:v>
                </c:pt>
                <c:pt idx="170">
                  <c:v>1</c:v>
                </c:pt>
                <c:pt idx="171">
                  <c:v>4</c:v>
                </c:pt>
                <c:pt idx="172">
                  <c:v>1</c:v>
                </c:pt>
                <c:pt idx="173">
                  <c:v>0</c:v>
                </c:pt>
                <c:pt idx="174">
                  <c:v>1</c:v>
                </c:pt>
                <c:pt idx="175">
                  <c:v>1</c:v>
                </c:pt>
                <c:pt idx="176">
                  <c:v>0</c:v>
                </c:pt>
                <c:pt idx="177">
                  <c:v>2</c:v>
                </c:pt>
                <c:pt idx="178">
                  <c:v>4</c:v>
                </c:pt>
                <c:pt idx="179">
                  <c:v>1</c:v>
                </c:pt>
                <c:pt idx="180">
                  <c:v>1</c:v>
                </c:pt>
                <c:pt idx="181">
                  <c:v>3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2</c:v>
                </c:pt>
                <c:pt idx="186">
                  <c:v>4</c:v>
                </c:pt>
                <c:pt idx="187">
                  <c:v>1</c:v>
                </c:pt>
                <c:pt idx="188">
                  <c:v>0</c:v>
                </c:pt>
                <c:pt idx="189">
                  <c:v>1</c:v>
                </c:pt>
                <c:pt idx="190">
                  <c:v>1</c:v>
                </c:pt>
                <c:pt idx="191">
                  <c:v>0</c:v>
                </c:pt>
                <c:pt idx="192">
                  <c:v>2</c:v>
                </c:pt>
                <c:pt idx="193">
                  <c:v>1</c:v>
                </c:pt>
                <c:pt idx="194">
                  <c:v>3</c:v>
                </c:pt>
                <c:pt idx="195">
                  <c:v>0</c:v>
                </c:pt>
                <c:pt idx="196">
                  <c:v>1</c:v>
                </c:pt>
                <c:pt idx="197">
                  <c:v>1</c:v>
                </c:pt>
                <c:pt idx="198">
                  <c:v>1</c:v>
                </c:pt>
                <c:pt idx="199">
                  <c:v>1</c:v>
                </c:pt>
                <c:pt idx="200">
                  <c:v>1</c:v>
                </c:pt>
                <c:pt idx="201">
                  <c:v>2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1</c:v>
                </c:pt>
                <c:pt idx="207">
                  <c:v>1</c:v>
                </c:pt>
                <c:pt idx="208">
                  <c:v>0</c:v>
                </c:pt>
                <c:pt idx="209">
                  <c:v>0</c:v>
                </c:pt>
                <c:pt idx="210">
                  <c:v>1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2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1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2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2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1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1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1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1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1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1</c:v>
                </c:pt>
                <c:pt idx="322">
                  <c:v>1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1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3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1</c:v>
                </c:pt>
                <c:pt idx="337">
                  <c:v>0</c:v>
                </c:pt>
                <c:pt idx="338">
                  <c:v>0</c:v>
                </c:pt>
                <c:pt idx="339">
                  <c:v>1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1</c:v>
                </c:pt>
                <c:pt idx="344">
                  <c:v>0</c:v>
                </c:pt>
                <c:pt idx="345">
                  <c:v>1</c:v>
                </c:pt>
                <c:pt idx="346">
                  <c:v>2</c:v>
                </c:pt>
                <c:pt idx="347">
                  <c:v>2</c:v>
                </c:pt>
                <c:pt idx="348">
                  <c:v>1</c:v>
                </c:pt>
                <c:pt idx="349">
                  <c:v>0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3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2</c:v>
                </c:pt>
                <c:pt idx="359">
                  <c:v>2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7</c:v>
                </c:pt>
                <c:pt idx="364">
                  <c:v>3</c:v>
                </c:pt>
                <c:pt idx="365">
                  <c:v>1</c:v>
                </c:pt>
                <c:pt idx="366">
                  <c:v>2</c:v>
                </c:pt>
                <c:pt idx="367">
                  <c:v>2</c:v>
                </c:pt>
                <c:pt idx="368">
                  <c:v>0</c:v>
                </c:pt>
                <c:pt idx="369">
                  <c:v>5</c:v>
                </c:pt>
                <c:pt idx="370">
                  <c:v>0</c:v>
                </c:pt>
                <c:pt idx="371">
                  <c:v>1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1</c:v>
                </c:pt>
                <c:pt idx="381">
                  <c:v>1</c:v>
                </c:pt>
                <c:pt idx="382">
                  <c:v>0</c:v>
                </c:pt>
                <c:pt idx="383">
                  <c:v>1</c:v>
                </c:pt>
                <c:pt idx="384">
                  <c:v>2</c:v>
                </c:pt>
                <c:pt idx="385">
                  <c:v>1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1</c:v>
                </c:pt>
                <c:pt idx="392">
                  <c:v>1</c:v>
                </c:pt>
                <c:pt idx="393">
                  <c:v>0</c:v>
                </c:pt>
                <c:pt idx="394">
                  <c:v>0</c:v>
                </c:pt>
                <c:pt idx="395">
                  <c:v>2</c:v>
                </c:pt>
                <c:pt idx="396">
                  <c:v>0</c:v>
                </c:pt>
                <c:pt idx="397">
                  <c:v>1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1</c:v>
                </c:pt>
                <c:pt idx="410">
                  <c:v>0</c:v>
                </c:pt>
                <c:pt idx="411">
                  <c:v>1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0</c:v>
                </c:pt>
                <c:pt idx="418">
                  <c:v>0</c:v>
                </c:pt>
                <c:pt idx="419">
                  <c:v>0</c:v>
                </c:pt>
                <c:pt idx="420">
                  <c:v>1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3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3</c:v>
                </c:pt>
                <c:pt idx="433">
                  <c:v>0</c:v>
                </c:pt>
                <c:pt idx="434">
                  <c:v>1</c:v>
                </c:pt>
                <c:pt idx="435">
                  <c:v>0</c:v>
                </c:pt>
                <c:pt idx="436">
                  <c:v>0</c:v>
                </c:pt>
                <c:pt idx="437">
                  <c:v>1</c:v>
                </c:pt>
                <c:pt idx="438">
                  <c:v>4</c:v>
                </c:pt>
                <c:pt idx="439">
                  <c:v>1</c:v>
                </c:pt>
                <c:pt idx="440">
                  <c:v>2</c:v>
                </c:pt>
                <c:pt idx="441">
                  <c:v>2</c:v>
                </c:pt>
                <c:pt idx="442">
                  <c:v>1</c:v>
                </c:pt>
                <c:pt idx="443">
                  <c:v>1</c:v>
                </c:pt>
                <c:pt idx="444">
                  <c:v>1</c:v>
                </c:pt>
                <c:pt idx="445">
                  <c:v>1</c:v>
                </c:pt>
                <c:pt idx="446">
                  <c:v>0</c:v>
                </c:pt>
                <c:pt idx="447">
                  <c:v>0</c:v>
                </c:pt>
                <c:pt idx="448">
                  <c:v>1</c:v>
                </c:pt>
                <c:pt idx="449">
                  <c:v>1</c:v>
                </c:pt>
                <c:pt idx="450">
                  <c:v>0</c:v>
                </c:pt>
                <c:pt idx="451">
                  <c:v>2</c:v>
                </c:pt>
                <c:pt idx="452">
                  <c:v>2</c:v>
                </c:pt>
                <c:pt idx="453">
                  <c:v>0</c:v>
                </c:pt>
                <c:pt idx="454">
                  <c:v>1</c:v>
                </c:pt>
                <c:pt idx="455">
                  <c:v>1</c:v>
                </c:pt>
                <c:pt idx="456">
                  <c:v>0</c:v>
                </c:pt>
                <c:pt idx="457">
                  <c:v>1</c:v>
                </c:pt>
                <c:pt idx="458">
                  <c:v>1</c:v>
                </c:pt>
                <c:pt idx="459">
                  <c:v>2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1</c:v>
                </c:pt>
                <c:pt idx="466">
                  <c:v>0</c:v>
                </c:pt>
                <c:pt idx="467">
                  <c:v>1</c:v>
                </c:pt>
                <c:pt idx="468">
                  <c:v>1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1</c:v>
                </c:pt>
                <c:pt idx="478">
                  <c:v>0</c:v>
                </c:pt>
                <c:pt idx="479">
                  <c:v>1</c:v>
                </c:pt>
                <c:pt idx="480">
                  <c:v>1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4.–
3.5.</c:v>
                </c:pt>
                <c:pt idx="1">
                  <c:v>4.5.–
10.5.</c:v>
                </c:pt>
                <c:pt idx="2">
                  <c:v>11.5.–
17.5.</c:v>
                </c:pt>
                <c:pt idx="3">
                  <c:v>18.5.–
24.5.</c:v>
                </c:pt>
                <c:pt idx="4">
                  <c:v>25.5.–
31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6.–
7.6.</c:v>
                </c:pt>
                <c:pt idx="1">
                  <c:v>8.6.–
14.6.</c:v>
                </c:pt>
                <c:pt idx="2">
                  <c:v>15.6.–
21.6.</c:v>
                </c:pt>
                <c:pt idx="3">
                  <c:v>22.6.–
28.6.</c:v>
                </c:pt>
                <c:pt idx="4">
                  <c:v>29.6.–
5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5</c:v>
                </c:pt>
                <c:pt idx="1">
                  <c:v>0</c:v>
                </c:pt>
                <c:pt idx="2">
                  <c:v>45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6.–
5.7.</c:v>
                </c:pt>
                <c:pt idx="1">
                  <c:v>6.7.–
12.7.</c:v>
                </c:pt>
                <c:pt idx="2">
                  <c:v>13.7.–
19.7.</c:v>
                </c:pt>
                <c:pt idx="3">
                  <c:v>20.7.–
26.7.</c:v>
                </c:pt>
                <c:pt idx="4">
                  <c:v>27.7.–
2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11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7.–
2.8.</c:v>
                </c:pt>
                <c:pt idx="1">
                  <c:v>3.8.–
9.8.</c:v>
                </c:pt>
                <c:pt idx="2">
                  <c:v>10.8.–
16.8.</c:v>
                </c:pt>
                <c:pt idx="3">
                  <c:v>17.8.–
23.8.</c:v>
                </c:pt>
                <c:pt idx="4">
                  <c:v>24.8.–
30.8.</c:v>
                </c:pt>
                <c:pt idx="5">
                  <c:v>31.8.–
6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</c:v>
                </c:pt>
                <c:pt idx="1">
                  <c:v>86</c:v>
                </c:pt>
                <c:pt idx="2">
                  <c:v>40</c:v>
                </c:pt>
                <c:pt idx="3">
                  <c:v>44</c:v>
                </c:pt>
                <c:pt idx="4">
                  <c:v>1</c:v>
                </c:pt>
                <c:pt idx="5">
                  <c:v>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8.–
6.9.</c:v>
                </c:pt>
                <c:pt idx="1">
                  <c:v>7.9.–
13.9.</c:v>
                </c:pt>
                <c:pt idx="2">
                  <c:v>14.9.–
20.9.</c:v>
                </c:pt>
                <c:pt idx="3">
                  <c:v>21.9.–
27.9.</c:v>
                </c:pt>
                <c:pt idx="4">
                  <c:v>28.9.–
4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96</c:v>
                </c:pt>
                <c:pt idx="1">
                  <c:v>138</c:v>
                </c:pt>
                <c:pt idx="2">
                  <c:v>100</c:v>
                </c:pt>
                <c:pt idx="3">
                  <c:v>627</c:v>
                </c:pt>
                <c:pt idx="4">
                  <c:v>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11.–
7.11.</c:v>
                </c:pt>
                <c:pt idx="1">
                  <c:v>8.11.–
14.11.</c:v>
                </c:pt>
                <c:pt idx="2">
                  <c:v>15.11.–
21.11.</c:v>
                </c:pt>
                <c:pt idx="3">
                  <c:v>22.11.–
28.11.</c:v>
                </c:pt>
                <c:pt idx="4">
                  <c:v>29.11.–
5.12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13</c:v>
                </c:pt>
                <c:pt idx="1">
                  <c:v>90</c:v>
                </c:pt>
                <c:pt idx="2">
                  <c:v>107</c:v>
                </c:pt>
                <c:pt idx="3">
                  <c:v>119</c:v>
                </c:pt>
                <c:pt idx="4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9.–
4.10.</c:v>
                </c:pt>
                <c:pt idx="1">
                  <c:v>5.10.–
11.10.</c:v>
                </c:pt>
                <c:pt idx="2">
                  <c:v>12.10.–
18.10.</c:v>
                </c:pt>
                <c:pt idx="3">
                  <c:v>19.10.–
25.10.</c:v>
                </c:pt>
                <c:pt idx="4">
                  <c:v>26.10.–
1.1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90</c:v>
                </c:pt>
                <c:pt idx="1">
                  <c:v>1325</c:v>
                </c:pt>
                <c:pt idx="2">
                  <c:v>3258</c:v>
                </c:pt>
                <c:pt idx="3">
                  <c:v>2610</c:v>
                </c:pt>
                <c:pt idx="4">
                  <c:v>2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10.–
1.11.</c:v>
                </c:pt>
                <c:pt idx="1">
                  <c:v>2.11.–
8.11.</c:v>
                </c:pt>
                <c:pt idx="2">
                  <c:v>9.11.–
15.11.</c:v>
                </c:pt>
                <c:pt idx="3">
                  <c:v>16.11.–
22.11.</c:v>
                </c:pt>
                <c:pt idx="4">
                  <c:v>23.11.–
29.11.</c:v>
                </c:pt>
                <c:pt idx="5">
                  <c:v>30.11.–
6.1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2702</c:v>
                </c:pt>
                <c:pt idx="1">
                  <c:v>2109</c:v>
                </c:pt>
                <c:pt idx="2">
                  <c:v>3034</c:v>
                </c:pt>
                <c:pt idx="3">
                  <c:v>2017</c:v>
                </c:pt>
                <c:pt idx="4">
                  <c:v>788</c:v>
                </c:pt>
                <c:pt idx="5">
                  <c:v>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11.–
6.12.</c:v>
                </c:pt>
                <c:pt idx="1">
                  <c:v>7.12.–
13.12.</c:v>
                </c:pt>
                <c:pt idx="2">
                  <c:v>14.12.–
20.12.</c:v>
                </c:pt>
                <c:pt idx="3">
                  <c:v>21.12.–
27.12.</c:v>
                </c:pt>
                <c:pt idx="4">
                  <c:v>28.12.–
3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772</c:v>
                </c:pt>
                <c:pt idx="1">
                  <c:v>1444</c:v>
                </c:pt>
                <c:pt idx="2">
                  <c:v>992</c:v>
                </c:pt>
                <c:pt idx="3">
                  <c:v>582</c:v>
                </c:pt>
                <c:pt idx="4">
                  <c:v>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12.–
3.1.</c:v>
                </c:pt>
                <c:pt idx="1">
                  <c:v>4.1.–
10.1.</c:v>
                </c:pt>
                <c:pt idx="2">
                  <c:v>11.1.–
17.1.</c:v>
                </c:pt>
                <c:pt idx="3">
                  <c:v>18.1.–
24.1.</c:v>
                </c:pt>
                <c:pt idx="4">
                  <c:v>25.1.–
31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943</c:v>
                </c:pt>
                <c:pt idx="1">
                  <c:v>1069</c:v>
                </c:pt>
                <c:pt idx="2">
                  <c:v>910</c:v>
                </c:pt>
                <c:pt idx="3">
                  <c:v>885</c:v>
                </c:pt>
                <c:pt idx="4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1.2.–
7.2.</c:v>
                </c:pt>
                <c:pt idx="1">
                  <c:v>8.2.–
14.2.</c:v>
                </c:pt>
                <c:pt idx="2">
                  <c:v>15.2.–
21.2.</c:v>
                </c:pt>
                <c:pt idx="3">
                  <c:v>22.2.–
28.2.</c:v>
                </c:pt>
              </c:strCache>
            </c:strRef>
          </c:cat>
          <c:val>
            <c:numRef>
              <c:f>List1!$B$2:$E$2</c:f>
              <c:numCache>
                <c:formatCode>General</c:formatCode>
                <c:ptCount val="4"/>
                <c:pt idx="0">
                  <c:v>650</c:v>
                </c:pt>
                <c:pt idx="1">
                  <c:v>590</c:v>
                </c:pt>
                <c:pt idx="2">
                  <c:v>204</c:v>
                </c:pt>
                <c:pt idx="3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3.–
7.3.</c:v>
                </c:pt>
                <c:pt idx="1">
                  <c:v>8.3.–
14.3.</c:v>
                </c:pt>
                <c:pt idx="2">
                  <c:v>15.3.–
21.3.</c:v>
                </c:pt>
                <c:pt idx="3">
                  <c:v>22.3.–
28.3.</c:v>
                </c:pt>
                <c:pt idx="4">
                  <c:v>29.3.–
4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43</c:v>
                </c:pt>
                <c:pt idx="1">
                  <c:v>223</c:v>
                </c:pt>
                <c:pt idx="2">
                  <c:v>295</c:v>
                </c:pt>
                <c:pt idx="3">
                  <c:v>192</c:v>
                </c:pt>
                <c:pt idx="4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3.–
4.4.</c:v>
                </c:pt>
                <c:pt idx="1">
                  <c:v>5.4.–
11.4.</c:v>
                </c:pt>
                <c:pt idx="2">
                  <c:v>12.4.–
18.4.</c:v>
                </c:pt>
                <c:pt idx="3">
                  <c:v>19.4.–
25.4.</c:v>
                </c:pt>
                <c:pt idx="4">
                  <c:v>26.4.–
2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22</c:v>
                </c:pt>
                <c:pt idx="1">
                  <c:v>72</c:v>
                </c:pt>
                <c:pt idx="2">
                  <c:v>32</c:v>
                </c:pt>
                <c:pt idx="3">
                  <c:v>16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4.–
2.5.</c:v>
                </c:pt>
                <c:pt idx="1">
                  <c:v>3.5.–
9.5.</c:v>
                </c:pt>
                <c:pt idx="2">
                  <c:v>10.5.–
16.5.</c:v>
                </c:pt>
                <c:pt idx="3">
                  <c:v>17.5.–
23.5.</c:v>
                </c:pt>
                <c:pt idx="4">
                  <c:v>24.5.–
30.5.</c:v>
                </c:pt>
                <c:pt idx="5">
                  <c:v>31.5.–
6.6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</c:v>
                </c:pt>
                <c:pt idx="1">
                  <c:v>0</c:v>
                </c:pt>
                <c:pt idx="2">
                  <c:v>14</c:v>
                </c:pt>
                <c:pt idx="3">
                  <c:v>9</c:v>
                </c:pt>
                <c:pt idx="4">
                  <c:v>0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5.–
6.6.</c:v>
                </c:pt>
                <c:pt idx="1">
                  <c:v>7.6.–
13.6.</c:v>
                </c:pt>
                <c:pt idx="2">
                  <c:v>14.6.–
20.6.</c:v>
                </c:pt>
                <c:pt idx="3">
                  <c:v>21.6.–
27.6.</c:v>
                </c:pt>
                <c:pt idx="4">
                  <c:v>28.6.–
4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6.–
4.7.</c:v>
                </c:pt>
                <c:pt idx="1">
                  <c:v>5.7.–
11.7.</c:v>
                </c:pt>
                <c:pt idx="2">
                  <c:v>12.7.–
18.7.</c:v>
                </c:pt>
                <c:pt idx="3">
                  <c:v>19.7.–
25.7.</c:v>
                </c:pt>
                <c:pt idx="4">
                  <c:v>26.7.–
1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</c:v>
                </c:pt>
                <c:pt idx="3">
                  <c:v>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11.–
5.12.</c:v>
                </c:pt>
                <c:pt idx="1">
                  <c:v>6.12.–
12.12.</c:v>
                </c:pt>
                <c:pt idx="2">
                  <c:v>13.12.–
19.12.</c:v>
                </c:pt>
                <c:pt idx="3">
                  <c:v>20.12.–
26.12.</c:v>
                </c:pt>
                <c:pt idx="4">
                  <c:v>27.12.–
2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05</c:v>
                </c:pt>
                <c:pt idx="1">
                  <c:v>173</c:v>
                </c:pt>
                <c:pt idx="2">
                  <c:v>106</c:v>
                </c:pt>
                <c:pt idx="3">
                  <c:v>70</c:v>
                </c:pt>
                <c:pt idx="4">
                  <c:v>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7.–
1.8.</c:v>
                </c:pt>
                <c:pt idx="1">
                  <c:v>2.8.–
8.8.</c:v>
                </c:pt>
                <c:pt idx="2">
                  <c:v>9.8.–
15.8.</c:v>
                </c:pt>
                <c:pt idx="3">
                  <c:v>16.8.–
22.8.</c:v>
                </c:pt>
                <c:pt idx="4">
                  <c:v>23.8.–
29.8.</c:v>
                </c:pt>
                <c:pt idx="5">
                  <c:v>30.8.–
5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0</c:v>
                </c:pt>
                <c:pt idx="5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8.–
5.9.</c:v>
                </c:pt>
                <c:pt idx="1">
                  <c:v>6.9.–
12.9.</c:v>
                </c:pt>
                <c:pt idx="2">
                  <c:v>13.9.–
19.9.</c:v>
                </c:pt>
                <c:pt idx="3">
                  <c:v>20.9.–
26.9.</c:v>
                </c:pt>
                <c:pt idx="4">
                  <c:v>27.9.–
3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8</c:v>
                </c:pt>
                <c:pt idx="1">
                  <c:v>0</c:v>
                </c:pt>
                <c:pt idx="2">
                  <c:v>6</c:v>
                </c:pt>
                <c:pt idx="3">
                  <c:v>14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9.–
3.10.</c:v>
                </c:pt>
                <c:pt idx="1">
                  <c:v>4.10.–
10.10.</c:v>
                </c:pt>
                <c:pt idx="2">
                  <c:v>11.10.–
17.10.</c:v>
                </c:pt>
                <c:pt idx="3">
                  <c:v>18.10.–
24.10.</c:v>
                </c:pt>
                <c:pt idx="4">
                  <c:v>25.10.–
31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6</c:v>
                </c:pt>
                <c:pt idx="1">
                  <c:v>30</c:v>
                </c:pt>
                <c:pt idx="2">
                  <c:v>58</c:v>
                </c:pt>
                <c:pt idx="3">
                  <c:v>28</c:v>
                </c:pt>
                <c:pt idx="4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12.–
2.1.</c:v>
                </c:pt>
                <c:pt idx="1">
                  <c:v>3.1.–
9.1.</c:v>
                </c:pt>
                <c:pt idx="2">
                  <c:v>10.1.–
16.1.</c:v>
                </c:pt>
                <c:pt idx="3">
                  <c:v>17.1.–
23.1.</c:v>
                </c:pt>
                <c:pt idx="4">
                  <c:v>24.1.–
30.1.</c:v>
                </c:pt>
                <c:pt idx="5">
                  <c:v>31.1.–
6.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4</c:v>
                </c:pt>
                <c:pt idx="1">
                  <c:v>46</c:v>
                </c:pt>
                <c:pt idx="2">
                  <c:v>28</c:v>
                </c:pt>
                <c:pt idx="3">
                  <c:v>253</c:v>
                </c:pt>
                <c:pt idx="4">
                  <c:v>306</c:v>
                </c:pt>
                <c:pt idx="5">
                  <c:v>4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1.–
6.2.</c:v>
                </c:pt>
                <c:pt idx="1">
                  <c:v>7.2.–
13.2.</c:v>
                </c:pt>
                <c:pt idx="2">
                  <c:v>14.2.–
20.2.</c:v>
                </c:pt>
                <c:pt idx="3">
                  <c:v>21.2.–
27.2.</c:v>
                </c:pt>
                <c:pt idx="4">
                  <c:v>28.2.–
6.3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86</c:v>
                </c:pt>
                <c:pt idx="1">
                  <c:v>814</c:v>
                </c:pt>
                <c:pt idx="2">
                  <c:v>336</c:v>
                </c:pt>
                <c:pt idx="3">
                  <c:v>285</c:v>
                </c:pt>
                <c:pt idx="4">
                  <c:v>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E9-40FD-BA37-B2E6F93584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2.–
6.3.</c:v>
                </c:pt>
                <c:pt idx="1">
                  <c:v>7.3.–
13.3.</c:v>
                </c:pt>
                <c:pt idx="2">
                  <c:v>14.3.–
20.3.</c:v>
                </c:pt>
                <c:pt idx="3">
                  <c:v>21.3.–
27.3.</c:v>
                </c:pt>
                <c:pt idx="4">
                  <c:v>28.3.–
3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10</c:v>
                </c:pt>
                <c:pt idx="1">
                  <c:v>186</c:v>
                </c:pt>
                <c:pt idx="2">
                  <c:v>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E9-40FD-BA37-B2E6F93584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  <a:r>
              <a:rPr lang="cs-CZ" baseline="0" dirty="0"/>
              <a:t> a pracovníci</a:t>
            </a:r>
            <a:endParaRPr lang="cs-CZ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DD-43EC-ACB6-2CFB565CAD6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DD-43EC-ACB6-2CFB565CAD69}"/>
              </c:ext>
            </c:extLst>
          </c:dPt>
          <c:dLbls>
            <c:dLbl>
              <c:idx val="0"/>
              <c:layout>
                <c:manualLayout>
                  <c:x val="3.5487344412856947E-2"/>
                  <c:y val="-5.32301757302556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DD-43EC-ACB6-2CFB565CAD69}"/>
                </c:ext>
              </c:extLst>
            </c:dLbl>
            <c:dLbl>
              <c:idx val="1"/>
              <c:layout>
                <c:manualLayout>
                  <c:x val="-3.4963343241499231E-2"/>
                  <c:y val="4.311518910451101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DD-43EC-ACB6-2CFB565CAD69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Zadávají do Sociálního mdulu ISIN</c:v>
                </c:pt>
                <c:pt idx="1">
                  <c:v>Nezadávají</c:v>
                </c:pt>
              </c:strCache>
            </c:strRef>
          </c:cat>
          <c:val>
            <c:numRef>
              <c:f>List1!$B$2:$B$3</c:f>
              <c:numCache>
                <c:formatCode>0.00%</c:formatCode>
                <c:ptCount val="2"/>
                <c:pt idx="0">
                  <c:v>0.81859999999999999</c:v>
                </c:pt>
                <c:pt idx="1">
                  <c:v>0.1814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DD-43EC-ACB6-2CFB565CA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explosion val="1"/>
          <c:dPt>
            <c:idx val="0"/>
            <c:bubble3D val="0"/>
            <c:explosion val="3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C4E-4B6D-BC39-F29FC08BBEF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4E-4B6D-BC39-F29FC08BBEF3}"/>
              </c:ext>
            </c:extLst>
          </c:dPt>
          <c:dLbls>
            <c:dLbl>
              <c:idx val="0"/>
              <c:layout>
                <c:manualLayout>
                  <c:x val="-0.23847481928522815"/>
                  <c:y val="-0.1349002337563882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751296037830877"/>
                      <c:h val="0.173371975717002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C4E-4B6D-BC39-F29FC08BBEF3}"/>
                </c:ext>
              </c:extLst>
            </c:dLbl>
            <c:dLbl>
              <c:idx val="1"/>
              <c:layout>
                <c:manualLayout>
                  <c:x val="0.22867473090205878"/>
                  <c:y val="0.195518539197765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950950427742643"/>
                      <c:h val="0.1675929098597689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C4E-4B6D-BC39-F29FC08BBE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C$2:$C$3</c:f>
              <c:numCache>
                <c:formatCode>0.0%</c:formatCode>
                <c:ptCount val="2"/>
                <c:pt idx="0">
                  <c:v>0.71468122339175177</c:v>
                </c:pt>
                <c:pt idx="1">
                  <c:v>0.285318776608248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E-4B6D-BC39-F29FC08BBEF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9.03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9.03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22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8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chart" Target="../charts/chart11.xml"/><Relationship Id="rId5" Type="http://schemas.openxmlformats.org/officeDocument/2006/relationships/tags" Target="../tags/tag15.xml"/><Relationship Id="rId10" Type="http://schemas.openxmlformats.org/officeDocument/2006/relationships/chart" Target="../charts/chart10.xml"/><Relationship Id="rId4" Type="http://schemas.openxmlformats.org/officeDocument/2006/relationships/tags" Target="../tags/tag14.xml"/><Relationship Id="rId9" Type="http://schemas.openxmlformats.org/officeDocument/2006/relationships/chart" Target="../charts/chart9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chart" Target="../charts/chart1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chart" Target="../charts/chart13.xml"/><Relationship Id="rId5" Type="http://schemas.openxmlformats.org/officeDocument/2006/relationships/tags" Target="../tags/tag22.xml"/><Relationship Id="rId10" Type="http://schemas.openxmlformats.org/officeDocument/2006/relationships/chart" Target="../charts/chart12.xml"/><Relationship Id="rId4" Type="http://schemas.openxmlformats.org/officeDocument/2006/relationships/tags" Target="../tags/tag21.xml"/><Relationship Id="rId9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chart" Target="../charts/chart18.xml"/><Relationship Id="rId5" Type="http://schemas.openxmlformats.org/officeDocument/2006/relationships/chart" Target="../charts/chart17.xml"/><Relationship Id="rId4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chart" Target="../charts/chart2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1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2.xml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Ohniska nákazy a individuální přehledy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o nákazách v zařízeních sociálních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služeb</a:t>
            </a:r>
          </a:p>
        </p:txBody>
      </p:sp>
    </p:spTree>
    <p:extLst>
      <p:ext uri="{BB962C8B-B14F-4D97-AF65-F5344CB8AC3E}">
        <p14:creationId xmlns:p14="http://schemas.microsoft.com/office/powerpoint/2010/main" val="3454604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AA4FE5E7-F551-4D1B-A605-8FB55E49DB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4866257"/>
              </p:ext>
            </p:extLst>
          </p:nvPr>
        </p:nvGraphicFramePr>
        <p:xfrm>
          <a:off x="7362818" y="5556199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64514112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111981512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366280577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06024036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378891345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3197653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915749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2 k 19. 3.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19. 3. 2022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2CB9E723-90D4-4DF3-A4C1-04A567932C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0298045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69D9846B-2D40-4943-BE29-D639CD1CAD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0038285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Obdélník 13">
            <a:extLst>
              <a:ext uri="{FF2B5EF4-FFF2-40B4-BE49-F238E27FC236}">
                <a16:creationId xmlns:a16="http://schemas.microsoft.com/office/drawing/2014/main" id="{06C48139-6AD8-42FC-87EB-B78B92AFE7B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1" name="Tabulka 14">
            <a:extLst>
              <a:ext uri="{FF2B5EF4-FFF2-40B4-BE49-F238E27FC236}">
                <a16:creationId xmlns:a16="http://schemas.microsoft.com/office/drawing/2014/main" id="{3F51155A-4EFC-474B-BC5A-8553005EE892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15434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7. 11. – 14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6081177"/>
              </p:ext>
            </p:extLst>
          </p:nvPr>
        </p:nvGraphicFramePr>
        <p:xfrm>
          <a:off x="1372685" y="1009672"/>
          <a:ext cx="9684753" cy="550315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949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EN pro SEN Javor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 - 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iatrické centrum Týniště nad Orlic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Praha 15, DPS Ja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ab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entrin Unhošť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iln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e Věž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330371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grované centrum Vilémov pro osoby se zdr.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84759251"/>
                  </a:ext>
                </a:extLst>
              </a:tr>
              <a:tr h="35727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centrum pro osoby se zdravotním postižením Ostrava, příspěvková organizace  Domov Třeb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9948375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712926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4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977405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bré vůle Žáry, M.Albrechtice, Žáry 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5267875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286697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Pouch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283737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kromé sen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3703661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14005470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nna Český Br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3176228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domácí péče Samopš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24288581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tyřlístek - Domov Barevný svět, Petřk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8390345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6018896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8683019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ROŽNOV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1729306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a DPS Záku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Pampeliš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Sněžen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835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polek Klidné stáří, Březová 372/83, Děčín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00101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2. – 31. 1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9266196"/>
              </p:ext>
            </p:extLst>
          </p:nvPr>
        </p:nvGraphicFramePr>
        <p:xfrm>
          <a:off x="1372685" y="1009673"/>
          <a:ext cx="9684753" cy="538161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1922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 srdci klíč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Karla Boromejského, K Šancím 50, Praha 6 Řep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orní Bran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pečovatelský dům U Jakuba II, Červený Koste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humanity - Azylový dů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orav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y RUAH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UMORAVYKM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ALMEZ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ASVIZ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Dolní Počer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hoda Neto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H Nemocnice Vi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Loucký Mlý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885821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EIMER HOME Ostrov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68729976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VATAVA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71434954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5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4980781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uster  CPS Vodň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45884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ZAŠOVÁ21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96120778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GAPO Bruntá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835001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Šluknov-Krásná Lípa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69029633"/>
                  </a:ext>
                </a:extLst>
              </a:tr>
              <a:tr h="214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verka Jiř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04353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31. 1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8252151"/>
              </p:ext>
            </p:extLst>
          </p:nvPr>
        </p:nvGraphicFramePr>
        <p:xfrm>
          <a:off x="1372685" y="1009672"/>
          <a:ext cx="9684753" cy="550316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854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Hluboká nad Vltav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ič a Centrum sociálních služeb Empati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Dač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Ječmínek Z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s.Zdislav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Ludmil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u Agát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U Vršovického nádraží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Vlašsk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S Souse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chy Kůs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AMICA 3 -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ršovická zdravotní, rehabilitace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VALMEZ22 VS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apírenská Praha 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Vrchlab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zrakově postižené Palata, Praha 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ETRA Mačk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Svitav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Hedviky Kravař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 Mnichovo Hradiště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, Komenského 6, 382 26 Horní Plan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DS Máj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58551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6 -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9827812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AVOROVA K. VARY -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8843817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ZBOROVICE22 K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509063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OTROK22 Z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8575557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Zahradní město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36165555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Louck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35636792"/>
                  </a:ext>
                </a:extLst>
              </a:tr>
              <a:tr h="161049"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1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k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79750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9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F7E221A7-C6C9-47E2-BB32-2A8D1AB67A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7957047"/>
              </p:ext>
            </p:extLst>
          </p:nvPr>
        </p:nvGraphicFramePr>
        <p:xfrm>
          <a:off x="1372685" y="1009672"/>
          <a:ext cx="9684753" cy="540065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117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Hagibor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Česká J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áchova Prah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Slivenec s.r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ALMEZ22 V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KUNOVICE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VELEHRAD22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DĚJEZLÍN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centrum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Jablonecké Paseky, p. 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 zvláštním režim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ZLÍN22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rbno p.P., Mnichov 2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D Malá Čermná 42 l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rizont,p.o. - odd B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rnov, Rooseveltova 51, 79401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Třebo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79170398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5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81288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aprsek Olš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765747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3127476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5832265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uior centrum Necha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4279483"/>
                  </a:ext>
                </a:extLst>
              </a:tr>
              <a:tr h="17963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anž. Curieových Třebí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00367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0. 2. – 20. 2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4ADC1232-1C09-47EC-83F6-9D189A376A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1285935"/>
              </p:ext>
            </p:extLst>
          </p:nvPr>
        </p:nvGraphicFramePr>
        <p:xfrm>
          <a:off x="1372685" y="1009674"/>
          <a:ext cx="9684753" cy="550317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8707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lementas Mlék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sy Dobr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hoda Neto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Anežky Velký Újezd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NEZDENICE22 U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NÁVOJNÁ22 Z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VÁŽANY22 K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Osobl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Sněženková 8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t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MSSS Oáza II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projekt s.r.o. DZ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Svob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15, Parmská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vízdal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Náměšť nad Oslav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GF Alzheimer centrum Třebí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01493290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tenzi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32911813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r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41005323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Ďáb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80079919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Fontán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25077564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Meziříčí, Zdenky Vorlové 21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3970118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51000961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73131533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U Přehrady, z. s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76942257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21649236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ubešova Třebí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2798790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BUREŠOV22 Z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85711495"/>
                  </a:ext>
                </a:extLst>
              </a:tr>
              <a:tr h="1714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NLP Therapon 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72129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21. 2. – 19. 3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9. 3. 2022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4ADC1232-1C09-47EC-83F6-9D189A376A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726505"/>
              </p:ext>
            </p:extLst>
          </p:nvPr>
        </p:nvGraphicFramePr>
        <p:xfrm>
          <a:off x="1372685" y="942997"/>
          <a:ext cx="9684753" cy="561022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4991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LAZNE KYNZVART -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AZA LOUCKY -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uknov, Křečanská 630, Šlukn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n. M. I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domov a ZŠ Vrbno pod Praděd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. Karla Boromejského, K Šancím 50, Praha 6 Řep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lamovka, Praha 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Dobr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y na Orlici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65242358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OZP Dolní Poustev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71433143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38112332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DPSROŽNOV22 VS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200414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BUCHLOVICE22 U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83461722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Rybnič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92690310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Rybnič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62641440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 Svitav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21729014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mku Lysá nad Lab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3423867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stské centrum komplexní péče Benátky n. J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07243140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Lampert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72275993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Pitkovice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48891181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Lidick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0848453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49704709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Eliška 2B Praha 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00862596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eto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76886819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řebíč DpS Koutk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65142125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TOPAS22 Z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5604569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ouse Vac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97496042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Eliška 3B Praha 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8810558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eniorů Mělní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20745157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JASENKA22 VS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69214851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Třebešín, Praha 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95488982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TEKVIZOVICE22 ZL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72142849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ěžní Kadaň_březen 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416127813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Odry, p.o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534014768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latná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88813584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ílokostelecká, Chrasta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100"/>
                        </a:lnSpc>
                      </a:pP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25654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075944" y="3790246"/>
            <a:ext cx="9869424" cy="1564690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C00000"/>
                </a:solidFill>
              </a:rPr>
              <a:t>Nákaza COVID-19 v zařízeních </a:t>
            </a:r>
          </a:p>
          <a:p>
            <a:r>
              <a:rPr lang="cs-CZ" sz="3600" b="1" dirty="0">
                <a:solidFill>
                  <a:srgbClr val="C00000"/>
                </a:solidFill>
              </a:rPr>
              <a:t>sociálních služeb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3608199" y="5354936"/>
            <a:ext cx="4804913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ě hlášené případy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97236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>
            <p:custDataLst>
              <p:tags r:id="rId1"/>
            </p:custDataLst>
          </p:nvPr>
        </p:nvSpPr>
        <p:spPr>
          <a:xfrm>
            <a:off x="237831" y="622249"/>
            <a:ext cx="113270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ášení o šíření nákazy v pobytových sociálních službách je ze strany poskytovatelů reprezentativní, celý systém dosahuje více než 81% pokrytí tohoto segmentu péče. Za celé období sledování od podzimu 2020 bylo registrováno přes 2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500 nakažených klientů a více než 21 100 nakažených pracovníků. Hlášení o úmrtích COVID pozitivních klientů přesáhlo 3 500, pracovníků zemřelo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9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353656" y="1948875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>
            <p:custDataLst>
              <p:tags r:id="rId2"/>
            </p:custDataLst>
          </p:nvPr>
        </p:nvSpPr>
        <p:spPr>
          <a:xfrm>
            <a:off x="237830" y="2466327"/>
            <a:ext cx="1168747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istopadu byl z těchto individuálních hlášení patrný nárůst počtu nakažených ve srovnání </a:t>
            </a:r>
          </a:p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říjnem 2021. Tato data tedy nezávisle potvrzují nálezy zjištěné epidemiologickými šetřeními ze strany KHS. Za měsíc listopad bylo nahlášeno 9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pracovníků a 8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klientů pobytových sociálních služeb. Počet hlášených úmrtí klientů dosáhnul v listopadu hodnoty 11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Ačkoli šlo o výrazný nárůst, stále se jednalo o počty významně nižší než v zimních až jarních měsících 2021. Za prosinec bylo na bázi přímého hlášení od poskytovatelů sociálních služeb registrováno 5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2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u personálu a 4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ákaz u klientů. Celkem 69 nakažených klientů zemřelo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Šipka dolů 4">
            <a:extLst>
              <a:ext uri="{FF2B5EF4-FFF2-40B4-BE49-F238E27FC236}">
                <a16:creationId xmlns:a16="http://schemas.microsoft.com/office/drawing/2014/main" id="{5B31F110-680C-4708-9C37-E3C235162FCA}"/>
              </a:ext>
            </a:extLst>
          </p:cNvPr>
          <p:cNvSpPr/>
          <p:nvPr/>
        </p:nvSpPr>
        <p:spPr>
          <a:xfrm>
            <a:off x="5353656" y="4685753"/>
            <a:ext cx="1095375" cy="538018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757E8C22-BEEA-45FF-855F-3C6D2A98514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2046" y="5155434"/>
            <a:ext cx="1157858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ednu bylo nahlášeno 1039 případů nákazy personálu a 436 klientů, z nichž 29 zemřelo, v únoru bylo nahlášeno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80 nákaz pracovníků a 1076 nákaz klientů, z nichž 67 zemřelo, v březnu (k 19. 3.) bylo hlášeno 400 případů nákazy personálu a 349 klientů, z nichž 36 zemřelo. Počty případů s těžkým průběhem nákazy, zejména vyžadujícím hospitalizaci, zůstávají nízké, v jednotkách případů denně v celé ČR. </a:t>
            </a: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odnadpis 4">
            <a:extLst>
              <a:ext uri="{FF2B5EF4-FFF2-40B4-BE49-F238E27FC236}">
                <a16:creationId xmlns:a16="http://schemas.microsoft.com/office/drawing/2014/main" id="{8B62E79B-CD80-47C0-8863-8E66984EC330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lášení poskytovatelů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31900653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4046FEE0-D8D1-4831-AB60-A1F7DA460B1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93976" y="3310410"/>
          <a:ext cx="8649221" cy="320230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391567">
                  <a:extLst>
                    <a:ext uri="{9D8B030D-6E8A-4147-A177-3AD203B41FA5}">
                      <a16:colId xmlns:a16="http://schemas.microsoft.com/office/drawing/2014/main" val="2551148758"/>
                    </a:ext>
                  </a:extLst>
                </a:gridCol>
                <a:gridCol w="1256029">
                  <a:extLst>
                    <a:ext uri="{9D8B030D-6E8A-4147-A177-3AD203B41FA5}">
                      <a16:colId xmlns:a16="http://schemas.microsoft.com/office/drawing/2014/main" val="2213013832"/>
                    </a:ext>
                  </a:extLst>
                </a:gridCol>
                <a:gridCol w="1611850">
                  <a:extLst>
                    <a:ext uri="{9D8B030D-6E8A-4147-A177-3AD203B41FA5}">
                      <a16:colId xmlns:a16="http://schemas.microsoft.com/office/drawing/2014/main" val="4088924505"/>
                    </a:ext>
                  </a:extLst>
                </a:gridCol>
                <a:gridCol w="1343884">
                  <a:extLst>
                    <a:ext uri="{9D8B030D-6E8A-4147-A177-3AD203B41FA5}">
                      <a16:colId xmlns:a16="http://schemas.microsoft.com/office/drawing/2014/main" val="607463107"/>
                    </a:ext>
                  </a:extLst>
                </a:gridCol>
                <a:gridCol w="2045891">
                  <a:extLst>
                    <a:ext uri="{9D8B030D-6E8A-4147-A177-3AD203B41FA5}">
                      <a16:colId xmlns:a16="http://schemas.microsoft.com/office/drawing/2014/main" val="1349585136"/>
                    </a:ext>
                  </a:extLst>
                </a:gridCol>
              </a:tblGrid>
              <a:tr h="20544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Zařízení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u="none" strike="noStrike" dirty="0">
                          <a:effectLst/>
                        </a:rPr>
                        <a:t>Zadávání do ISIN: pokrytí v % z hlediska osob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96431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14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7333389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9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.83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24766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.27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6393320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.6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751462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.00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4154115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75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597231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.19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390187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32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5938399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.6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072717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.8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335145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71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279565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.35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40672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17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993068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7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64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34%</a:t>
                      </a:r>
                    </a:p>
                  </a:txBody>
                  <a:tcPr marL="6350" marR="6350" marT="635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413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0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547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575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86%</a:t>
                      </a:r>
                    </a:p>
                  </a:txBody>
                  <a:tcPr marL="6350" marR="6350" marT="635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0797941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4078224" y="1341581"/>
            <a:ext cx="1280160" cy="8503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FB02E70-00BE-4217-BFFA-D3CA15770A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4696" y="659894"/>
            <a:ext cx="366184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24.1.2020 bylo v databázi MPSV vedeno 4 438 zařízení  s 77 547 klienty a 102 575 pracovníky (Tyto údaje nejsou u všech zařízení zadány). Z tohoto počtu jich zadává do sociálního modulu ISIN 1726 zařízení. Z hlediska osob je pokrytí 81,9%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											</a:t>
            </a:r>
          </a:p>
        </p:txBody>
      </p:sp>
      <p:graphicFrame>
        <p:nvGraphicFramePr>
          <p:cNvPr id="28" name="Graf 27">
            <a:extLst>
              <a:ext uri="{FF2B5EF4-FFF2-40B4-BE49-F238E27FC236}">
                <a16:creationId xmlns:a16="http://schemas.microsoft.com/office/drawing/2014/main" id="{070C962C-17CB-4943-9A26-6B0649A6731C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192046" y="713780"/>
          <a:ext cx="3858770" cy="234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AE754366-DA2D-456F-993B-3DC23336EE76}"/>
              </a:ext>
            </a:extLst>
          </p:cNvPr>
          <p:cNvSpPr/>
          <p:nvPr/>
        </p:nvSpPr>
        <p:spPr>
          <a:xfrm>
            <a:off x="10368318" y="1371074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9C1BC83-8B2D-4CEB-9068-2C41D10CA1AC}"/>
              </a:ext>
            </a:extLst>
          </p:cNvPr>
          <p:cNvSpPr/>
          <p:nvPr/>
        </p:nvSpPr>
        <p:spPr>
          <a:xfrm>
            <a:off x="10368317" y="1888577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7C3952-A85E-447F-A446-C31B07748CAD}"/>
              </a:ext>
            </a:extLst>
          </p:cNvPr>
          <p:cNvSpPr txBox="1"/>
          <p:nvPr/>
        </p:nvSpPr>
        <p:spPr>
          <a:xfrm>
            <a:off x="10635556" y="1338037"/>
            <a:ext cx="14734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sociálníh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 v ISIN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C809B18B-7C7D-43CA-B6B5-0397532BC5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29221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19673" cy="576000"/>
          </a:xfrm>
        </p:spPr>
        <p:txBody>
          <a:bodyPr/>
          <a:lstStyle/>
          <a:p>
            <a:r>
              <a:rPr lang="cs-CZ" dirty="0"/>
              <a:t>Úvod – zdroje dat a koncepce analýz </a:t>
            </a: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 rotWithShape="1">
          <a:blip r:embed="rId2"/>
          <a:srcRect l="29757"/>
          <a:stretch/>
        </p:blipFill>
        <p:spPr>
          <a:xfrm>
            <a:off x="1762433" y="4150796"/>
            <a:ext cx="2770419" cy="2283052"/>
          </a:xfrm>
          <a:prstGeom prst="rect">
            <a:avLst/>
          </a:prstGeom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6201" y="896112"/>
            <a:ext cx="3168556" cy="2484490"/>
          </a:xfrm>
          <a:prstGeom prst="rect">
            <a:avLst/>
          </a:prstGeom>
        </p:spPr>
      </p:pic>
      <p:sp>
        <p:nvSpPr>
          <p:cNvPr id="14" name="Šipka nahoru, doprava i doleva 13"/>
          <p:cNvSpPr/>
          <p:nvPr/>
        </p:nvSpPr>
        <p:spPr>
          <a:xfrm rot="16200000">
            <a:off x="-2074261" y="3478063"/>
            <a:ext cx="6194017" cy="467360"/>
          </a:xfrm>
          <a:prstGeom prst="leftRightUpArrow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6200000">
            <a:off x="-2606131" y="3332358"/>
            <a:ext cx="5971034" cy="75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OVID-19: </a:t>
            </a:r>
            <a:r>
              <a:rPr lang="cs-CZ" sz="1800" b="1" dirty="0">
                <a:solidFill>
                  <a:srgbClr val="2E5982"/>
                </a:solidFill>
                <a:latin typeface="Roboto" pitchFamily="2" charset="0"/>
                <a:ea typeface="Roboto" pitchFamily="2" charset="0"/>
              </a:rPr>
              <a:t>Komponenty informačního systému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pokrývají individuální</a:t>
            </a:r>
            <a:r>
              <a:rPr kumimoji="0" lang="cs-CZ" sz="1800" b="0" i="0" u="none" strike="noStrike" kern="1200" cap="none" spc="0" normalizeH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 záznamy o nákaze i šetření ohnise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E5982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16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92727">
            <a:off x="4215712" y="1258975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Epidemická šet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záznamy o ohniscích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22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77356">
            <a:off x="4103084" y="4232334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entrální systém ISI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jeho komponenty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788152" y="4746649"/>
            <a:ext cx="59710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hlášení o nákaze v sociálních zařízeních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data o nákazách klientů a pracovníků sociálních zařízení. Zdrojem dat je Informační systém infekčních nemocí a jeho modul vyvinutý pro pobytová sociální zřízení.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Záznam o nákaze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musí být nutně spojen s konkrétním ohniskem, jde o nezávislý paralelní zdroj dat.</a:t>
            </a:r>
            <a:r>
              <a:rPr kumimoji="0" lang="cs-CZ" sz="16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ejména nákaza pracovníků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ůže proběhnout v rodině, v běžném životě, při volnočasových aktivitách, …. 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6263640" y="1638360"/>
            <a:ext cx="51480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kac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hnisek nákazy při šetřeních KHS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hniska nákazy a jejich identifikace, velikost a rozsah. Popis sociálních zařízení jako možného zdroje šíření nákazy s identifikací rozsahu tohoto šíření. Srovnání rizikovosti s jinými typy ohnisek, provozů a aktivit. Výstup epidemických šetření KHS. </a:t>
            </a:r>
          </a:p>
        </p:txBody>
      </p:sp>
    </p:spTree>
    <p:extLst>
      <p:ext uri="{BB962C8B-B14F-4D97-AF65-F5344CB8AC3E}">
        <p14:creationId xmlns:p14="http://schemas.microsoft.com/office/powerpoint/2010/main" val="91595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0299713B-111D-4B25-B8CB-B6E1B62ADA5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563624" y="3303770"/>
          <a:ext cx="10232136" cy="3283720"/>
        </p:xfrm>
        <a:graphic>
          <a:graphicData uri="http://schemas.openxmlformats.org/drawingml/2006/table">
            <a:tbl>
              <a:tblPr firstRow="1" firstCol="1">
                <a:tableStyleId>{B301B821-A1FF-4177-AEE7-76D212191A09}</a:tableStyleId>
              </a:tblPr>
              <a:tblGrid>
                <a:gridCol w="1976410">
                  <a:extLst>
                    <a:ext uri="{9D8B030D-6E8A-4147-A177-3AD203B41FA5}">
                      <a16:colId xmlns:a16="http://schemas.microsoft.com/office/drawing/2014/main" val="1751799772"/>
                    </a:ext>
                  </a:extLst>
                </a:gridCol>
                <a:gridCol w="892342">
                  <a:extLst>
                    <a:ext uri="{9D8B030D-6E8A-4147-A177-3AD203B41FA5}">
                      <a16:colId xmlns:a16="http://schemas.microsoft.com/office/drawing/2014/main" val="902193333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364489532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10038520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91593423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612252977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618545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75051404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75659276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0982301"/>
                    </a:ext>
                  </a:extLst>
                </a:gridCol>
              </a:tblGrid>
              <a:tr h="1821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Kumulativní počet pozitivních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evalence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2631"/>
                  </a:ext>
                </a:extLst>
              </a:tr>
              <a:tr h="263108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90663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9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6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41120267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9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7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8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716811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0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5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5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2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80293416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2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1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.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4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41161169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2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14463784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0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.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.1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8307135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.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5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2343430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1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8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4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1741139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8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1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4612172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3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38760682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8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9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.4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8712928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9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8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8567351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67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2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3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4918007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1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1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92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7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1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8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580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6350" marR="6350" marT="6350" marB="0" anchor="b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117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848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965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3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5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0%</a:t>
                      </a:r>
                    </a:p>
                  </a:txBody>
                  <a:tcPr marL="7620" marR="7620" marT="7620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5 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7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3636442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3" name="Tabulka 5">
            <a:extLst>
              <a:ext uri="{FF2B5EF4-FFF2-40B4-BE49-F238E27FC236}">
                <a16:creationId xmlns:a16="http://schemas.microsoft.com/office/drawing/2014/main" id="{6F1BE403-568C-4410-92A9-A495D2FAEF4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96240" y="703131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zitivní kumulativně od 1. 9. 20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11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84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965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03F2B12B-C7FB-433C-B31C-39BA29874352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827777" y="94014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4423F0C7-01F1-48B0-8558-9204B4FCEBBD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5005129" y="95823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3CFFE266-D6AE-4802-A847-9E0F891F112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8650425" y="93784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4" name="Tabulka 5">
            <a:extLst>
              <a:ext uri="{FF2B5EF4-FFF2-40B4-BE49-F238E27FC236}">
                <a16:creationId xmlns:a16="http://schemas.microsoft.com/office/drawing/2014/main" id="{56437C1F-4D10-4D3E-B0A8-9518E5C68D6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396240" y="2014267"/>
          <a:ext cx="428989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3035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3689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7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revalen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7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BD5140DF-3074-4F6E-8ED2-520771412FF8}"/>
              </a:ext>
            </a:extLst>
          </p:cNvPr>
          <p:cNvSpPr/>
          <p:nvPr/>
        </p:nvSpPr>
        <p:spPr>
          <a:xfrm>
            <a:off x="10603771" y="1639953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021D8A8-D008-4697-AC1C-88E72BFFF03A}"/>
              </a:ext>
            </a:extLst>
          </p:cNvPr>
          <p:cNvSpPr/>
          <p:nvPr/>
        </p:nvSpPr>
        <p:spPr>
          <a:xfrm>
            <a:off x="10603770" y="2157456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413E6CF2-B54B-44CC-B0E1-F5F79475BD0F}"/>
              </a:ext>
            </a:extLst>
          </p:cNvPr>
          <p:cNvSpPr txBox="1"/>
          <p:nvPr/>
        </p:nvSpPr>
        <p:spPr>
          <a:xfrm>
            <a:off x="10825623" y="1598768"/>
            <a:ext cx="9701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2F49224-0D50-4D73-8F2F-C6E32D1DD99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095626" y="6599244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9. 3. 2022</a:t>
            </a:r>
          </a:p>
        </p:txBody>
      </p:sp>
    </p:spTree>
    <p:extLst>
      <p:ext uri="{BB962C8B-B14F-4D97-AF65-F5344CB8AC3E}">
        <p14:creationId xmlns:p14="http://schemas.microsoft.com/office/powerpoint/2010/main" val="26203652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A4FC8911-8549-4A16-8D1B-80DFEF2A7C3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1062389" y="1134877"/>
            <a:ext cx="93647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mřelí</a:t>
            </a:r>
          </a:p>
        </p:txBody>
      </p:sp>
      <p:sp>
        <p:nvSpPr>
          <p:cNvPr id="25" name="Obdélník 30">
            <a:extLst>
              <a:ext uri="{FF2B5EF4-FFF2-40B4-BE49-F238E27FC236}">
                <a16:creationId xmlns:a16="http://schemas.microsoft.com/office/drawing/2014/main" id="{DB9838B0-0A33-4A4B-986E-9D9F71AF81E2}"/>
              </a:ext>
            </a:extLst>
          </p:cNvPr>
          <p:cNvSpPr/>
          <p:nvPr/>
        </p:nvSpPr>
        <p:spPr>
          <a:xfrm>
            <a:off x="10825441" y="1345021"/>
            <a:ext cx="232229" cy="222358"/>
          </a:xfrm>
          <a:prstGeom prst="rect">
            <a:avLst/>
          </a:prstGeom>
          <a:solidFill>
            <a:srgbClr val="D3114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31">
            <a:extLst>
              <a:ext uri="{FF2B5EF4-FFF2-40B4-BE49-F238E27FC236}">
                <a16:creationId xmlns:a16="http://schemas.microsoft.com/office/drawing/2014/main" id="{DEA0E672-4606-4BB6-81AF-B5D1874019D7}"/>
              </a:ext>
            </a:extLst>
          </p:cNvPr>
          <p:cNvSpPr/>
          <p:nvPr/>
        </p:nvSpPr>
        <p:spPr>
          <a:xfrm>
            <a:off x="10825442" y="2161275"/>
            <a:ext cx="232229" cy="222358"/>
          </a:xfrm>
          <a:prstGeom prst="rect">
            <a:avLst/>
          </a:prstGeom>
          <a:solidFill>
            <a:schemeClr val="accent5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Tabulka 5">
            <a:extLst>
              <a:ext uri="{FF2B5EF4-FFF2-40B4-BE49-F238E27FC236}">
                <a16:creationId xmlns:a16="http://schemas.microsoft.com/office/drawing/2014/main" id="{6EB11C65-1CDD-4550-89B7-A08D02ED313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96240" y="1294785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Úmrtí z pozitivní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98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35" name="Graf 34">
            <a:extLst>
              <a:ext uri="{FF2B5EF4-FFF2-40B4-BE49-F238E27FC236}">
                <a16:creationId xmlns:a16="http://schemas.microsoft.com/office/drawing/2014/main" id="{9825F808-DBDA-4681-8826-95CA8D4BD0F6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827777" y="84489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6" name="Graf 35">
            <a:extLst>
              <a:ext uri="{FF2B5EF4-FFF2-40B4-BE49-F238E27FC236}">
                <a16:creationId xmlns:a16="http://schemas.microsoft.com/office/drawing/2014/main" id="{57DC76AD-7CE7-40BD-9E22-DF3C22F5124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5005129" y="86298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8BB4745F-03D5-4071-8407-C7CEC07B41AF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8650425" y="84259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D16BFC76-C19B-4A8D-8DDB-FDA0B234E699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1540765" y="2971287"/>
          <a:ext cx="10115198" cy="32536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2143">
                  <a:extLst>
                    <a:ext uri="{9D8B030D-6E8A-4147-A177-3AD203B41FA5}">
                      <a16:colId xmlns:a16="http://schemas.microsoft.com/office/drawing/2014/main" val="879520779"/>
                    </a:ext>
                  </a:extLst>
                </a:gridCol>
                <a:gridCol w="1279542">
                  <a:extLst>
                    <a:ext uri="{9D8B030D-6E8A-4147-A177-3AD203B41FA5}">
                      <a16:colId xmlns:a16="http://schemas.microsoft.com/office/drawing/2014/main" val="3367828616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1646545094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2611571609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934922861"/>
                    </a:ext>
                  </a:extLst>
                </a:gridCol>
                <a:gridCol w="2369088">
                  <a:extLst>
                    <a:ext uri="{9D8B030D-6E8A-4147-A177-3AD203B41FA5}">
                      <a16:colId xmlns:a16="http://schemas.microsoft.com/office/drawing/2014/main" val="49330528"/>
                    </a:ext>
                  </a:extLst>
                </a:gridCol>
              </a:tblGrid>
              <a:tr h="268887">
                <a:tc rowSpan="2">
                  <a:txBody>
                    <a:bodyPr/>
                    <a:lstStyle/>
                    <a:p>
                      <a:pPr algn="ctr"/>
                      <a:endParaRPr lang="cs-CZ" sz="1200" dirty="0"/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ozitivní celk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Úmrtí s COVID-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094322"/>
                  </a:ext>
                </a:extLst>
              </a:tr>
              <a:tr h="337976">
                <a:tc vMerge="1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6" marR="6906" marT="6906" marB="0" anchor="b">
                    <a:solidFill>
                      <a:srgbClr val="D3114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 pobytových službác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z nakažených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ový počet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v pobytových službách z celkového počtu úmrtí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901625"/>
                  </a:ext>
                </a:extLst>
              </a:tr>
              <a:tr h="928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9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2%</a:t>
                      </a: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99 </a:t>
                      </a: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0%</a:t>
                      </a:r>
                    </a:p>
                  </a:txBody>
                  <a:tcPr marL="7620" marR="7620" marT="7620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96716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7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0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42155320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5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1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1500357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15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7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8979925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2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3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6279305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03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1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0039150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3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1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600148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85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6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621525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8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46383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9677124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9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50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29136076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93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9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8497106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23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4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68908529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92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7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8 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4%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90237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965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9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3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352 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1%</a:t>
                      </a:r>
                    </a:p>
                  </a:txBody>
                  <a:tcPr marL="7620" marR="7620" marT="762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54811687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84C2B06D-1EA4-4221-AB94-49921297612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9. 3. 2022</a:t>
            </a:r>
          </a:p>
        </p:txBody>
      </p:sp>
    </p:spTree>
    <p:extLst>
      <p:ext uri="{BB962C8B-B14F-4D97-AF65-F5344CB8AC3E}">
        <p14:creationId xmlns:p14="http://schemas.microsoft.com/office/powerpoint/2010/main" val="13050299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6EE5A5A9-1D77-4373-8BAE-354735C4B92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17499" y="1113735"/>
          <a:ext cx="5445129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F8B5FE-5BCC-438A-9460-39F40971553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096000" y="1113736"/>
          <a:ext cx="5543552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34BC6512-09A9-45C7-9C64-6483F36FCDF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9. 3. 2022</a:t>
            </a:r>
          </a:p>
        </p:txBody>
      </p:sp>
    </p:spTree>
    <p:extLst>
      <p:ext uri="{BB962C8B-B14F-4D97-AF65-F5344CB8AC3E}">
        <p14:creationId xmlns:p14="http://schemas.microsoft.com/office/powerpoint/2010/main" val="14446690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A5AC5B58-68B4-4B88-BC43-BA177AD2572A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6096000" y="1130962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CC91C51-DB83-45AB-9039-0844F5E7892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94659" y="1130963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6D4CE99E-2646-4004-897D-BD3135C0FC1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3595" y="6581001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9. 3. 2022</a:t>
            </a:r>
          </a:p>
        </p:txBody>
      </p:sp>
    </p:spTree>
    <p:extLst>
      <p:ext uri="{BB962C8B-B14F-4D97-AF65-F5344CB8AC3E}">
        <p14:creationId xmlns:p14="http://schemas.microsoft.com/office/powerpoint/2010/main" val="4911525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30006DBE-A660-415B-AEC3-B17DAF8F0BB4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1C6E9E-768E-466F-BF16-2898D9FD2D57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130940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9D7E5688-CECF-4F5B-A73A-AB5B8E86B898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5">
            <a:extLst>
              <a:ext uri="{FF2B5EF4-FFF2-40B4-BE49-F238E27FC236}">
                <a16:creationId xmlns:a16="http://schemas.microsoft.com/office/drawing/2014/main" id="{86979FC1-366B-46FD-B231-EEADA63DBE0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9622298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osob v sociálních službá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10" name="Chart 31">
            <a:extLst>
              <a:ext uri="{FF2B5EF4-FFF2-40B4-BE49-F238E27FC236}">
                <a16:creationId xmlns:a16="http://schemas.microsoft.com/office/drawing/2014/main" id="{BE5C8BE7-0F1A-4F58-98DB-BC5FB33B5BD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79571" y="969185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E23433FB-4692-4304-9144-77DE8AA9A529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792623A3-E899-4D9F-85FF-B10B9C35CD76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7059675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a klient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3612839"/>
              </p:ext>
            </p:extLst>
          </p:nvPr>
        </p:nvGraphicFramePr>
        <p:xfrm>
          <a:off x="19789" y="951384"/>
          <a:ext cx="12105537" cy="56410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9171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01560235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1874325632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2289037344"/>
                    </a:ext>
                  </a:extLst>
                </a:gridCol>
                <a:gridCol w="305957">
                  <a:extLst>
                    <a:ext uri="{9D8B030D-6E8A-4147-A177-3AD203B41FA5}">
                      <a16:colId xmlns:a16="http://schemas.microsoft.com/office/drawing/2014/main" val="3821206977"/>
                    </a:ext>
                  </a:extLst>
                </a:gridCol>
              </a:tblGrid>
              <a:tr h="602838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Únor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řezen</a:t>
                      </a:r>
                      <a:b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 19. 3. 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7283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65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79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65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342057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7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67470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7" y="934057"/>
          <a:ext cx="11671989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201932" y="3135089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ě zemřelý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FA40DFCF-4D37-4845-98CB-EE8BCD3CF07B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5136B3-EEEC-483C-9FC4-B83BA247145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7268299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a pracovník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7" name="Tabulka 3">
            <a:extLst>
              <a:ext uri="{FF2B5EF4-FFF2-40B4-BE49-F238E27FC236}">
                <a16:creationId xmlns:a16="http://schemas.microsoft.com/office/drawing/2014/main" id="{EA3F3409-560C-4B9F-89F0-F5AF9408008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9789" y="988368"/>
          <a:ext cx="12093905" cy="56035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8711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715990891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852910522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502735584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074888153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2380247738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144831403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4093266905"/>
                    </a:ext>
                  </a:extLst>
                </a:gridCol>
                <a:gridCol w="305663">
                  <a:extLst>
                    <a:ext uri="{9D8B030D-6E8A-4147-A177-3AD203B41FA5}">
                      <a16:colId xmlns:a16="http://schemas.microsoft.com/office/drawing/2014/main" val="3784481097"/>
                    </a:ext>
                  </a:extLst>
                </a:gridCol>
              </a:tblGrid>
              <a:tr h="602086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800" dirty="0"/>
                        <a:t>Září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si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en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Únor 20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řezen</a:t>
                      </a:r>
                      <a:b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cs-CZ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 19. 3. 22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6887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1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součet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72717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266699" y="1144575"/>
            <a:ext cx="1132702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Dle hlášení KHS došlo v říjnu a zejména v listopadu 2021 k mírnému nárůstu počtu nákaz (a ohnisek) v sociálních zařízeních. Šlo ale o počty, které byly velmi významně nižší ve srovnání např. s jarem 2021. KHS identifikovaly za říjen 15 ohnisek v sociálních zařízeních (celkem 182 nakažených osob) a za listopad 36 ohnisek s celkem 645 dosud zařazenými nakaženými osobami. Za prosinec 2021 bylo z</a:t>
            </a:r>
            <a:r>
              <a:rPr kumimoji="0" lang="cs-CZ" sz="2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e strany KHS identifikováno a nahlášeno 42 událostí v sociálních službách s celkem 592 nakaženými osobami. </a:t>
            </a:r>
          </a:p>
          <a:p>
            <a:pPr algn="ctr">
              <a:defRPr/>
            </a:pPr>
            <a:endParaRPr kumimoji="0" lang="cs-CZ" sz="2400" b="1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Za leden je hlášeno 33 událostí se 721 nakaženými, za únor je dosud nahlášeno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77 událostí s 1 858 nakaženými, za březen 20 události s 367 nakaženými (stav k 19. 3.).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V současnosti tedy registrujeme nárůst počtu nákaz následovaný opětovným poklesem. </a:t>
            </a:r>
            <a:endParaRPr lang="cs-CZ" sz="2400" dirty="0">
              <a:solidFill>
                <a:srgbClr val="0000FF"/>
              </a:solidFill>
              <a:latin typeface="Calibri" panose="020F0502020204030204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86398" y="5668316"/>
            <a:ext cx="1319062" cy="545849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odnadpis 4">
            <a:extLst>
              <a:ext uri="{FF2B5EF4-FFF2-40B4-BE49-F238E27FC236}">
                <a16:creationId xmlns:a16="http://schemas.microsoft.com/office/drawing/2014/main" id="{FD2CE6B4-35B6-4010-B3CB-EE34C0274624}"/>
              </a:ext>
            </a:extLst>
          </p:cNvPr>
          <p:cNvSpPr txBox="1">
            <a:spLocks/>
          </p:cNvSpPr>
          <p:nvPr/>
        </p:nvSpPr>
        <p:spPr>
          <a:xfrm>
            <a:off x="266699" y="118297"/>
            <a:ext cx="11658601" cy="60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cs-CZ" sz="3400" b="1" dirty="0"/>
              <a:t>Výstupy šetření KHS: souhrn vývoje od podzimu 2021</a:t>
            </a:r>
          </a:p>
        </p:txBody>
      </p:sp>
    </p:spTree>
    <p:extLst>
      <p:ext uri="{BB962C8B-B14F-4D97-AF65-F5344CB8AC3E}">
        <p14:creationId xmlns:p14="http://schemas.microsoft.com/office/powerpoint/2010/main" val="11637983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vyžadující hospitalizaci z důvodu COVID-19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505507" y="1029671"/>
          <a:ext cx="11518821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6699F624-D5B2-4011-B4A6-2BC995418F25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94511879-45E4-4E33-970C-77CDADFB8F6C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5832002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s těžkým průběhem nemoci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486736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BC4FF1E4-8D78-4119-AE73-5ECF233E5080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36715F8D-6236-491C-8E3C-B3955460BFC3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0368154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Příloha: retrospektivní přehled hlášení KHS po měsících</a:t>
            </a:r>
          </a:p>
        </p:txBody>
      </p:sp>
    </p:spTree>
    <p:extLst>
      <p:ext uri="{BB962C8B-B14F-4D97-AF65-F5344CB8AC3E}">
        <p14:creationId xmlns:p14="http://schemas.microsoft.com/office/powerpoint/2010/main" val="247228648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E407BC21-98D2-4484-9EC1-D74879DC1DFE}"/>
              </a:ext>
            </a:extLst>
          </p:cNvPr>
          <p:cNvGraphicFramePr>
            <a:graphicFrameLocks noGrp="1"/>
          </p:cNvGraphicFramePr>
          <p:nvPr/>
        </p:nvGraphicFramePr>
        <p:xfrm>
          <a:off x="7357698" y="5556199"/>
          <a:ext cx="4559770" cy="860988"/>
        </p:xfrm>
        <a:graphic>
          <a:graphicData uri="http://schemas.openxmlformats.org/drawingml/2006/table">
            <a:tbl>
              <a:tblPr/>
              <a:tblGrid>
                <a:gridCol w="911954">
                  <a:extLst>
                    <a:ext uri="{9D8B030D-6E8A-4147-A177-3AD203B41FA5}">
                      <a16:colId xmlns:a16="http://schemas.microsoft.com/office/drawing/2014/main" val="3781823447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3939987608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2504438164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1301809795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782449002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873528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71677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</a:t>
            </a:r>
          </a:p>
        </p:txBody>
      </p:sp>
    </p:spTree>
    <p:extLst>
      <p:ext uri="{BB962C8B-B14F-4D97-AF65-F5344CB8AC3E}">
        <p14:creationId xmlns:p14="http://schemas.microsoft.com/office/powerpoint/2010/main" val="55835027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83B49AA-8160-4750-A999-FE1211C7E208}"/>
              </a:ext>
            </a:extLst>
          </p:cNvPr>
          <p:cNvGraphicFramePr>
            <a:graphicFrameLocks noGrp="1"/>
          </p:cNvGraphicFramePr>
          <p:nvPr/>
        </p:nvGraphicFramePr>
        <p:xfrm>
          <a:off x="7366472" y="5556199"/>
          <a:ext cx="4550995" cy="860988"/>
        </p:xfrm>
        <a:graphic>
          <a:graphicData uri="http://schemas.openxmlformats.org/drawingml/2006/table">
            <a:tbl>
              <a:tblPr/>
              <a:tblGrid>
                <a:gridCol w="910199">
                  <a:extLst>
                    <a:ext uri="{9D8B030D-6E8A-4147-A177-3AD203B41FA5}">
                      <a16:colId xmlns:a16="http://schemas.microsoft.com/office/drawing/2014/main" val="14559615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132357124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38509464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74027842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618420229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53447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800920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0 </a:t>
            </a:r>
          </a:p>
        </p:txBody>
      </p:sp>
    </p:spTree>
    <p:extLst>
      <p:ext uri="{BB962C8B-B14F-4D97-AF65-F5344CB8AC3E}">
        <p14:creationId xmlns:p14="http://schemas.microsoft.com/office/powerpoint/2010/main" val="290703729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88B3E13-B2CE-4977-A51D-63EE09726F48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307581347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663620388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150320877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545488870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400996549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00566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145489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0 </a:t>
            </a:r>
          </a:p>
        </p:txBody>
      </p:sp>
    </p:spTree>
    <p:extLst>
      <p:ext uri="{BB962C8B-B14F-4D97-AF65-F5344CB8AC3E}">
        <p14:creationId xmlns:p14="http://schemas.microsoft.com/office/powerpoint/2010/main" val="26059603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4A733E4-6C6F-4673-8EB3-43E9F53AA9A4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43019"/>
          <a:ext cx="4568082" cy="87416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53268115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858746802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7708748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39288601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01014498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111499919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400213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293707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.–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.–16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.–23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8.–30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0 </a:t>
            </a:r>
          </a:p>
        </p:txBody>
      </p:sp>
    </p:spTree>
    <p:extLst>
      <p:ext uri="{BB962C8B-B14F-4D97-AF65-F5344CB8AC3E}">
        <p14:creationId xmlns:p14="http://schemas.microsoft.com/office/powerpoint/2010/main" val="261855336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0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716FADC-95C9-4EF9-8F0F-16C13097F4FC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4036163115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73645088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27902353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734581894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248500227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5001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960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86264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048D0C3-4A1B-4F04-8420-3640670E172C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7"/>
          <a:ext cx="4564170" cy="853442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72228755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30873051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9226697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8627300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805520120"/>
                    </a:ext>
                  </a:extLst>
                </a:gridCol>
              </a:tblGrid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99578"/>
                  </a:ext>
                </a:extLst>
              </a:tr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653917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5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8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0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0 </a:t>
            </a:r>
          </a:p>
        </p:txBody>
      </p:sp>
    </p:spTree>
    <p:extLst>
      <p:ext uri="{BB962C8B-B14F-4D97-AF65-F5344CB8AC3E}">
        <p14:creationId xmlns:p14="http://schemas.microsoft.com/office/powerpoint/2010/main" val="171708960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F0AA7A5-EFAC-4CD9-9800-84DEB34D6674}"/>
              </a:ext>
            </a:extLst>
          </p:cNvPr>
          <p:cNvGraphicFramePr>
            <a:graphicFrameLocks noGrp="1"/>
          </p:cNvGraphicFramePr>
          <p:nvPr/>
        </p:nvGraphicFramePr>
        <p:xfrm>
          <a:off x="7358909" y="5543019"/>
          <a:ext cx="4558560" cy="874166"/>
        </p:xfrm>
        <a:graphic>
          <a:graphicData uri="http://schemas.openxmlformats.org/drawingml/2006/table">
            <a:tbl>
              <a:tblPr/>
              <a:tblGrid>
                <a:gridCol w="759760">
                  <a:extLst>
                    <a:ext uri="{9D8B030D-6E8A-4147-A177-3AD203B41FA5}">
                      <a16:colId xmlns:a16="http://schemas.microsoft.com/office/drawing/2014/main" val="431450114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293986261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870908832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418553957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813615049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9506064"/>
                    </a:ext>
                  </a:extLst>
                </a:gridCol>
              </a:tblGrid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213456"/>
                  </a:ext>
                </a:extLst>
              </a:tr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8762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9 (6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4 (6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 (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1/2020 </a:t>
            </a:r>
          </a:p>
        </p:txBody>
      </p:sp>
    </p:spTree>
    <p:extLst>
      <p:ext uri="{BB962C8B-B14F-4D97-AF65-F5344CB8AC3E}">
        <p14:creationId xmlns:p14="http://schemas.microsoft.com/office/powerpoint/2010/main" val="21189415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7679CE9D-4472-45AB-8445-AB52CE742C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868874"/>
              </p:ext>
            </p:extLst>
          </p:nvPr>
        </p:nvGraphicFramePr>
        <p:xfrm>
          <a:off x="1003424" y="5723959"/>
          <a:ext cx="10940886" cy="735210"/>
        </p:xfrm>
        <a:graphic>
          <a:graphicData uri="http://schemas.openxmlformats.org/drawingml/2006/table">
            <a:tbl>
              <a:tblPr/>
              <a:tblGrid>
                <a:gridCol w="110514">
                  <a:extLst>
                    <a:ext uri="{9D8B030D-6E8A-4147-A177-3AD203B41FA5}">
                      <a16:colId xmlns:a16="http://schemas.microsoft.com/office/drawing/2014/main" val="1538838877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4099947015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1764616075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2887428209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481014377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97123762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1080711517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1261256444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2511080906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422909014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4215070991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716136799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4282804266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1371474600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530142696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4226140261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2503920155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67146577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1475090082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2038215565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1726356129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4191910673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2821210003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037922711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821669616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216759392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289323596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113643773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602353612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9097243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564430100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2933416985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1512203344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098353209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305036044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943679714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1142393452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463530732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272297181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1887463659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448679604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997608915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395524163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2962165328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2339687044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962183867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1094621570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4286330273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626099594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221789022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4282159489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155443897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738859097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294271128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407094301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582045662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438977686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1576955658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724712827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747216322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4097941640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1204560176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244967049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2051078234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2872151622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936723240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1121392622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1580857911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1266263450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371963791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861216804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1639466943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1850345506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2746359353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743702389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154759757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408476863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1116012420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807705364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1024594968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4144174610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4168970656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165825909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2572901209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661435616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94105570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434062421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4274734404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254860581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2350186074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902142236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910349734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2220460528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612704280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731768082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2522875735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75502209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1688618270"/>
                    </a:ext>
                  </a:extLst>
                </a:gridCol>
                <a:gridCol w="110514">
                  <a:extLst>
                    <a:ext uri="{9D8B030D-6E8A-4147-A177-3AD203B41FA5}">
                      <a16:colId xmlns:a16="http://schemas.microsoft.com/office/drawing/2014/main" val="3348093995"/>
                    </a:ext>
                  </a:extLst>
                </a:gridCol>
              </a:tblGrid>
              <a:tr h="3676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5482746"/>
                  </a:ext>
                </a:extLst>
              </a:tr>
              <a:tr h="3676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3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5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7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4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0</a:t>
                      </a:r>
                    </a:p>
                  </a:txBody>
                  <a:tcPr marL="1956" marR="1956" marT="1956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971086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7279584"/>
              </p:ext>
            </p:extLst>
          </p:nvPr>
        </p:nvGraphicFramePr>
        <p:xfrm>
          <a:off x="485775" y="895349"/>
          <a:ext cx="11608237" cy="482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90905" y="5727649"/>
          <a:ext cx="11853445" cy="73152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7025837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9" name="TextovéPole 9">
            <a:extLst>
              <a:ext uri="{FF2B5EF4-FFF2-40B4-BE49-F238E27FC236}">
                <a16:creationId xmlns:a16="http://schemas.microsoft.com/office/drawing/2014/main" id="{6C2CDEC2-B893-491C-BB5B-D4EEE3DC82DC}"/>
              </a:ext>
            </a:extLst>
          </p:cNvPr>
          <p:cNvSpPr txBox="1"/>
          <p:nvPr/>
        </p:nvSpPr>
        <p:spPr>
          <a:xfrm>
            <a:off x="8274425" y="6516527"/>
            <a:ext cx="3819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19. 3. 2022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D81D70FC-F528-494D-8C3A-D477F854D763}"/>
              </a:ext>
            </a:extLst>
          </p:cNvPr>
          <p:cNvSpPr/>
          <p:nvPr/>
        </p:nvSpPr>
        <p:spPr>
          <a:xfrm>
            <a:off x="10842357" y="3390334"/>
            <a:ext cx="115448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 předběžné údaje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E67781F-87FB-42C9-899D-4460B89C4830}"/>
              </a:ext>
            </a:extLst>
          </p:cNvPr>
          <p:cNvSpPr/>
          <p:nvPr/>
        </p:nvSpPr>
        <p:spPr>
          <a:xfrm>
            <a:off x="11753266" y="4716302"/>
            <a:ext cx="24878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72228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2761B6C-BAB4-4CB7-9972-A9ACAC518D35}"/>
              </a:ext>
            </a:extLst>
          </p:cNvPr>
          <p:cNvGraphicFramePr>
            <a:graphicFrameLocks noGrp="1"/>
          </p:cNvGraphicFramePr>
          <p:nvPr/>
        </p:nvGraphicFramePr>
        <p:xfrm>
          <a:off x="7362824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0915617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47271214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135892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56152929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87565420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438040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49020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4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2/2020</a:t>
            </a:r>
          </a:p>
        </p:txBody>
      </p:sp>
    </p:spTree>
    <p:extLst>
      <p:ext uri="{BB962C8B-B14F-4D97-AF65-F5344CB8AC3E}">
        <p14:creationId xmlns:p14="http://schemas.microsoft.com/office/powerpoint/2010/main" val="394361220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7074580-7378-4DC7-905D-4C6D0765102E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85530437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11719903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95470282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4514466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75394469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96732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0950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9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1</a:t>
            </a:r>
          </a:p>
        </p:txBody>
      </p:sp>
      <p:sp>
        <p:nvSpPr>
          <p:cNvPr id="20" name="TextovéPole 9">
            <a:extLst>
              <a:ext uri="{FF2B5EF4-FFF2-40B4-BE49-F238E27FC236}">
                <a16:creationId xmlns:a16="http://schemas.microsoft.com/office/drawing/2014/main" id="{7E384A36-F04C-4CFB-AE35-7DB6EC2667C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86690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C8940F4-E367-4975-9E2F-DC4BD5527F99}"/>
              </a:ext>
            </a:extLst>
          </p:cNvPr>
          <p:cNvGraphicFramePr>
            <a:graphicFrameLocks noGrp="1"/>
          </p:cNvGraphicFramePr>
          <p:nvPr/>
        </p:nvGraphicFramePr>
        <p:xfrm>
          <a:off x="7355846" y="5556199"/>
          <a:ext cx="4561624" cy="853440"/>
        </p:xfrm>
        <a:graphic>
          <a:graphicData uri="http://schemas.openxmlformats.org/drawingml/2006/table">
            <a:tbl>
              <a:tblPr/>
              <a:tblGrid>
                <a:gridCol w="1140406">
                  <a:extLst>
                    <a:ext uri="{9D8B030D-6E8A-4147-A177-3AD203B41FA5}">
                      <a16:colId xmlns:a16="http://schemas.microsoft.com/office/drawing/2014/main" val="1626908255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993666441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582674586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186028161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8709309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4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241769" y="1111953"/>
          <a:ext cx="5595008" cy="5305234"/>
        </p:xfrm>
        <a:graphic>
          <a:graphicData uri="http://schemas.openxmlformats.org/drawingml/2006/table">
            <a:tbl>
              <a:tblPr/>
              <a:tblGrid>
                <a:gridCol w="195165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BDF07863-E626-446B-8502-11E8F41822DD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83496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C356167-F022-472E-9A90-09B706895E01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57412583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48750124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0681447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9752218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12628845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342833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1719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66196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CC44A54-A727-4A27-AAD6-9EDB9E74857F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51757496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04557882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0649300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507872686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43882254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9698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80242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4/2021</a:t>
            </a:r>
          </a:p>
        </p:txBody>
      </p:sp>
      <p:sp>
        <p:nvSpPr>
          <p:cNvPr id="11" name="TextovéPole 9">
            <a:extLst>
              <a:ext uri="{FF2B5EF4-FFF2-40B4-BE49-F238E27FC236}">
                <a16:creationId xmlns:a16="http://schemas.microsoft.com/office/drawing/2014/main" id="{1DF2C9EC-1343-455F-B625-1BA8F6D4F4A8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18799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BFAEF02-39D0-40BD-A8AF-48F84CD1AFC9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5344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162878116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50112385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413046743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68657496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6641087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8252222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882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0645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1</a:t>
            </a:r>
          </a:p>
        </p:txBody>
      </p:sp>
    </p:spTree>
    <p:extLst>
      <p:ext uri="{BB962C8B-B14F-4D97-AF65-F5344CB8AC3E}">
        <p14:creationId xmlns:p14="http://schemas.microsoft.com/office/powerpoint/2010/main" val="71210809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CC47735-3001-43A6-B955-E419A3EC1853}"/>
              </a:ext>
            </a:extLst>
          </p:cNvPr>
          <p:cNvGraphicFramePr>
            <a:graphicFrameLocks noGrp="1"/>
          </p:cNvGraphicFramePr>
          <p:nvPr/>
        </p:nvGraphicFramePr>
        <p:xfrm>
          <a:off x="7357964" y="5556199"/>
          <a:ext cx="4559505" cy="853440"/>
        </p:xfrm>
        <a:graphic>
          <a:graphicData uri="http://schemas.openxmlformats.org/drawingml/2006/table">
            <a:tbl>
              <a:tblPr/>
              <a:tblGrid>
                <a:gridCol w="911901">
                  <a:extLst>
                    <a:ext uri="{9D8B030D-6E8A-4147-A177-3AD203B41FA5}">
                      <a16:colId xmlns:a16="http://schemas.microsoft.com/office/drawing/2014/main" val="1486795782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22571971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46167304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2249125035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840746938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04164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0949039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3470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7ED1146-C9C8-494A-B83A-6D1444C47513}"/>
              </a:ext>
            </a:extLst>
          </p:cNvPr>
          <p:cNvGraphicFramePr>
            <a:graphicFrameLocks noGrp="1"/>
          </p:cNvGraphicFramePr>
          <p:nvPr/>
        </p:nvGraphicFramePr>
        <p:xfrm>
          <a:off x="7362826" y="5543020"/>
          <a:ext cx="4554640" cy="866620"/>
        </p:xfrm>
        <a:graphic>
          <a:graphicData uri="http://schemas.openxmlformats.org/drawingml/2006/table">
            <a:tbl>
              <a:tblPr/>
              <a:tblGrid>
                <a:gridCol w="910928">
                  <a:extLst>
                    <a:ext uri="{9D8B030D-6E8A-4147-A177-3AD203B41FA5}">
                      <a16:colId xmlns:a16="http://schemas.microsoft.com/office/drawing/2014/main" val="1215948292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747667204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344201301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217620225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485669683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635236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535690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43774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A6BDA19-CED9-4AD8-A8D3-38CA86903F22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6098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280123575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2134165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3870447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7626496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4262943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07797777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469714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95784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1</a:t>
            </a:r>
          </a:p>
        </p:txBody>
      </p:sp>
    </p:spTree>
    <p:extLst>
      <p:ext uri="{BB962C8B-B14F-4D97-AF65-F5344CB8AC3E}">
        <p14:creationId xmlns:p14="http://schemas.microsoft.com/office/powerpoint/2010/main" val="208460716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6897C-047E-47E5-B3A3-E78E699656D0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43019"/>
          <a:ext cx="4564170" cy="874168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358418510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46526545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76897358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21623622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809614840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491470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8316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34091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76C3E24-E9E7-4202-8B48-A716904320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8883679"/>
              </p:ext>
            </p:extLst>
          </p:nvPr>
        </p:nvGraphicFramePr>
        <p:xfrm>
          <a:off x="7428768" y="5737704"/>
          <a:ext cx="4564879" cy="731520"/>
        </p:xfrm>
        <a:graphic>
          <a:graphicData uri="http://schemas.openxmlformats.org/drawingml/2006/table">
            <a:tbl>
              <a:tblPr/>
              <a:tblGrid>
                <a:gridCol w="198473">
                  <a:extLst>
                    <a:ext uri="{9D8B030D-6E8A-4147-A177-3AD203B41FA5}">
                      <a16:colId xmlns:a16="http://schemas.microsoft.com/office/drawing/2014/main" val="4054237852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2887560556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669225899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591214454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902376461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4062836956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340405007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662611128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767709424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196272421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873263194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2352877774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842178275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24679403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761294311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2804101211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634789528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163544956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479461060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631059703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482498870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1948063352"/>
                    </a:ext>
                  </a:extLst>
                </a:gridCol>
                <a:gridCol w="198473">
                  <a:extLst>
                    <a:ext uri="{9D8B030D-6E8A-4147-A177-3AD203B41FA5}">
                      <a16:colId xmlns:a16="http://schemas.microsoft.com/office/drawing/2014/main" val="39426669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045984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253041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343901" y="6554627"/>
            <a:ext cx="3750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19. 3. 2022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4" name="Obdélník 11">
            <a:extLst>
              <a:ext uri="{FF2B5EF4-FFF2-40B4-BE49-F238E27FC236}">
                <a16:creationId xmlns:a16="http://schemas.microsoft.com/office/drawing/2014/main" id="{38C2AC7A-9C23-4CCF-B20F-266DA9F7115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0905" y="6541413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Tabulka 14">
            <a:extLst>
              <a:ext uri="{FF2B5EF4-FFF2-40B4-BE49-F238E27FC236}">
                <a16:creationId xmlns:a16="http://schemas.microsoft.com/office/drawing/2014/main" id="{50CA38BC-195A-4265-A337-74D0D69A5132}"/>
              </a:ext>
            </a:extLst>
          </p:cNvPr>
          <p:cNvGraphicFramePr>
            <a:graphicFrameLocks noGrp="1"/>
          </p:cNvGraphicFramePr>
          <p:nvPr/>
        </p:nvGraphicFramePr>
        <p:xfrm>
          <a:off x="6600825" y="1314771"/>
          <a:ext cx="5393547" cy="365760"/>
        </p:xfrm>
        <a:graphic>
          <a:graphicData uri="http://schemas.openxmlformats.org/drawingml/2006/table">
            <a:tbl>
              <a:tblPr/>
              <a:tblGrid>
                <a:gridCol w="77918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33287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 denně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72589205-FA3E-4546-869C-5462A9B69E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341294"/>
              </p:ext>
            </p:extLst>
          </p:nvPr>
        </p:nvGraphicFramePr>
        <p:xfrm>
          <a:off x="6895909" y="1703559"/>
          <a:ext cx="5215710" cy="3959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Obdélník 13">
            <a:extLst>
              <a:ext uri="{FF2B5EF4-FFF2-40B4-BE49-F238E27FC236}">
                <a16:creationId xmlns:a16="http://schemas.microsoft.com/office/drawing/2014/main" id="{0CBAB1B0-E713-42C3-B005-9F720593CBF2}"/>
              </a:ext>
            </a:extLst>
          </p:cNvPr>
          <p:cNvSpPr/>
          <p:nvPr/>
        </p:nvSpPr>
        <p:spPr>
          <a:xfrm>
            <a:off x="6986345" y="955453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5" name="Tabulka 14">
            <a:extLst>
              <a:ext uri="{FF2B5EF4-FFF2-40B4-BE49-F238E27FC236}">
                <a16:creationId xmlns:a16="http://schemas.microsoft.com/office/drawing/2014/main" id="{E3F2A5EE-FD0D-4E26-AEC0-D9CFDEEC1E60}"/>
              </a:ext>
            </a:extLst>
          </p:cNvPr>
          <p:cNvGraphicFramePr>
            <a:graphicFrameLocks noGrp="1"/>
          </p:cNvGraphicFramePr>
          <p:nvPr/>
        </p:nvGraphicFramePr>
        <p:xfrm>
          <a:off x="6686550" y="5737704"/>
          <a:ext cx="5307832" cy="731520"/>
        </p:xfrm>
        <a:graphic>
          <a:graphicData uri="http://schemas.openxmlformats.org/drawingml/2006/table">
            <a:tbl>
              <a:tblPr/>
              <a:tblGrid>
                <a:gridCol w="75111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6" name="Obdélník 13">
            <a:extLst>
              <a:ext uri="{FF2B5EF4-FFF2-40B4-BE49-F238E27FC236}">
                <a16:creationId xmlns:a16="http://schemas.microsoft.com/office/drawing/2014/main" id="{0ABA3511-66CD-4489-AF5A-F87C351FF89D}"/>
              </a:ext>
            </a:extLst>
          </p:cNvPr>
          <p:cNvSpPr/>
          <p:nvPr/>
        </p:nvSpPr>
        <p:spPr>
          <a:xfrm>
            <a:off x="190492" y="571917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– 03/2022 k 19. 3.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7A17A29C-4F23-47B3-905B-F8299A2B9E6E}"/>
              </a:ext>
            </a:extLst>
          </p:cNvPr>
          <p:cNvSpPr/>
          <p:nvPr/>
        </p:nvSpPr>
        <p:spPr>
          <a:xfrm>
            <a:off x="11586584" y="5534255"/>
            <a:ext cx="56137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 19. 3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10">
            <a:extLst>
              <a:ext uri="{FF2B5EF4-FFF2-40B4-BE49-F238E27FC236}">
                <a16:creationId xmlns:a16="http://schemas.microsoft.com/office/drawing/2014/main" id="{0EE03235-90B5-4828-A095-CA13F7204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4160397"/>
              </p:ext>
            </p:extLst>
          </p:nvPr>
        </p:nvGraphicFramePr>
        <p:xfrm>
          <a:off x="123825" y="914354"/>
          <a:ext cx="6483890" cy="5641271"/>
        </p:xfrm>
        <a:graphic>
          <a:graphicData uri="http://schemas.openxmlformats.org/drawingml/2006/table">
            <a:tbl>
              <a:tblPr/>
              <a:tblGrid>
                <a:gridCol w="522545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2675377350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722521615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368621166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2832739057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571506889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159134526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2805932271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2944690473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650913940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274616259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21507709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4084179970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33585517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1804655378"/>
                    </a:ext>
                  </a:extLst>
                </a:gridCol>
                <a:gridCol w="397423">
                  <a:extLst>
                    <a:ext uri="{9D8B030D-6E8A-4147-A177-3AD203B41FA5}">
                      <a16:colId xmlns:a16="http://schemas.microsoft.com/office/drawing/2014/main" val="459635882"/>
                    </a:ext>
                  </a:extLst>
                </a:gridCol>
              </a:tblGrid>
              <a:tr h="592631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událostí)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2</a:t>
                      </a:r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2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 19. 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0440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31924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2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1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2E8C36D6-DA3C-4986-BAE3-2CCA3C1995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0504577"/>
              </p:ext>
            </p:extLst>
          </p:nvPr>
        </p:nvGraphicFramePr>
        <p:xfrm>
          <a:off x="7428768" y="1226200"/>
          <a:ext cx="4564856" cy="463535"/>
        </p:xfrm>
        <a:graphic>
          <a:graphicData uri="http://schemas.openxmlformats.org/drawingml/2006/table">
            <a:tbl>
              <a:tblPr/>
              <a:tblGrid>
                <a:gridCol w="198472">
                  <a:extLst>
                    <a:ext uri="{9D8B030D-6E8A-4147-A177-3AD203B41FA5}">
                      <a16:colId xmlns:a16="http://schemas.microsoft.com/office/drawing/2014/main" val="2007565473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299315511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3675066560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2550847649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3666919793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2667690919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388305476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666415007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35980331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571387238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780286499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644994323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264606494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534343606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33218206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3010799213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890011211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015981186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2033443561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4189009272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0069616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178306335"/>
                    </a:ext>
                  </a:extLst>
                </a:gridCol>
                <a:gridCol w="198472">
                  <a:extLst>
                    <a:ext uri="{9D8B030D-6E8A-4147-A177-3AD203B41FA5}">
                      <a16:colId xmlns:a16="http://schemas.microsoft.com/office/drawing/2014/main" val="1847419719"/>
                    </a:ext>
                  </a:extLst>
                </a:gridCol>
              </a:tblGrid>
              <a:tr h="97775"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102338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9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1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69450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06886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6EE2C37-338A-492C-9788-E31A89B746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2802625"/>
              </p:ext>
            </p:extLst>
          </p:nvPr>
        </p:nvGraphicFramePr>
        <p:xfrm>
          <a:off x="7343774" y="5543019"/>
          <a:ext cx="4573695" cy="866620"/>
        </p:xfrm>
        <a:graphic>
          <a:graphicData uri="http://schemas.openxmlformats.org/drawingml/2006/table">
            <a:tbl>
              <a:tblPr/>
              <a:tblGrid>
                <a:gridCol w="914739">
                  <a:extLst>
                    <a:ext uri="{9D8B030D-6E8A-4147-A177-3AD203B41FA5}">
                      <a16:colId xmlns:a16="http://schemas.microsoft.com/office/drawing/2014/main" val="2232248336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803164521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492686028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860026255"/>
                    </a:ext>
                  </a:extLst>
                </a:gridCol>
                <a:gridCol w="914739">
                  <a:extLst>
                    <a:ext uri="{9D8B030D-6E8A-4147-A177-3AD203B41FA5}">
                      <a16:colId xmlns:a16="http://schemas.microsoft.com/office/drawing/2014/main" val="3241218159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672111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56587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9898717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1832104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240492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571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. – 7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28F5E2B2-F309-45AF-8A83-D5361039864E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9890"/>
          <a:ext cx="9370019" cy="533481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011204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9702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Počet nakažených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,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ka Více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entrin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irovická, pav. A a 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Běch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lzheimer Rozto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Dómském pahorku Litomě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Dukla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 Dolní zámek Teplice n 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něženka Jese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Na Výsluní Hoř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á služba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Mysli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čovatelské centrum Kame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vízd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áj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Proseč-Obořišt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Liščině, Čtyřl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Březové Ho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z.ú.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 Máj České Budějovice 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MSSS Marie Náchod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31054987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okol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32507058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inka Něm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ružení Veleta - domov pro osoby se zdravotním postižení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4275720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UMORAV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7579133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VÁŽANY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7172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,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9AE8B431-D698-44D7-B21C-AB8F1486EA46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434626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580988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1. – 14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4464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907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ty Cerhe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Peč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běšičky Duha Písek chráněné bydlen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a24, Vila Vita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no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Kyjovice (Opava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Osoblaha, Klášterní 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, Krnov, Rooseveltova ul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ězda Poděb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ada spasy K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lunovrat, Ostrava-Přívoz, příspěvková organiza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Slan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Poh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Od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ARCHA - Nový Jičí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lní Cet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CSS Od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osoby se zdravotním postižením Zběšičky, Bernartice u Milevs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Na Stříbrném vrchu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y Havlíčkův Brod, Humpolec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UHA - Nový Jičín, Mách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al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arcov Liberec, o.p.s.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63820710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KV Bílá Vod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1099837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unce všem Unhošť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242141701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Loch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1415545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tky Vojtěch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15553487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dům Soběsla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91244214"/>
                  </a:ext>
                </a:extLst>
              </a:tr>
              <a:tr h="16135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1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in zám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667D330D-9FE5-49E1-ACFD-E4A842FA346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43964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5. 1. – 2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FB16BE5-ABC7-48B8-8300-A2AB2039A214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49415"/>
          <a:ext cx="9684753" cy="531327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227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ortenzie Bořan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omovy Na Třešňovc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SVKŘÍŽE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BORŠICE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PBARBORKA21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DASENIOR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10 DPS Zvonk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llevue Vila Prague,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Kostelec nad Černými Le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uroje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2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-DOZP Domovy Na Třešňov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vený Vr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Mládežnická Jir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Police I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P2, J.Masa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odrý kám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Wágnerka Český Kruml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ZC Leti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Lip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02730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Chomu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38979625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PAČLAVICE20 K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72403894"/>
                  </a:ext>
                </a:extLst>
              </a:tr>
              <a:tr h="2121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KCH Charitní domov Město Albrechtice, Úzká 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9EABA060-817D-4986-8BA1-491519C478A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06801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22. 1. – 31. 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2180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Kol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chlického Vejprt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Ždí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ČK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 Janouc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 Anima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oj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GOM  Pňov-Předhrad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V Podzámčí, Říh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umpol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Salvátor Krnov, M.Švabinského 10, Krn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Větr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Farní charita 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dl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atorium Loto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Všebo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rásné Břez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Štěrboho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Benátky nad Jizer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P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í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811730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Max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169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88086200-61E2-48BD-9BE8-7E58FE39E79B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788469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2. – 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1030365"/>
          <a:ext cx="9684753" cy="539900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453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ovysočan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Kavčí Skálou Říč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ociálních služeb  Staroměstská České Buděj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Milíčev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lezská Humanita, Orlová - Laz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Čásla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Horní Pla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ntána - centrum sociálních služeb Hluč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Pod Skalou Mníšek p. Brd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okánek Hosti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Vršovický zámeč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Skalami Kurovo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r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voneček Byl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kadie Tepl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krušnohorské domovy soc. služeb Dub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40447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a centrum denních služeb Jablonec nad Nisou (Domovy pro osoby se zdravotním postižením – pro že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5198256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Skřiv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5869068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Pelhřim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žice - DpS a DZ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584515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Jaroš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8533832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Bažant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0126820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niklec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6178739"/>
                  </a:ext>
                </a:extLst>
              </a:tr>
              <a:tr h="2078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chlovice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45261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8. 2. – 17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536D8CD-0538-4873-A4A6-1915ECCA6788}"/>
              </a:ext>
            </a:extLst>
          </p:cNvPr>
          <p:cNvGraphicFramePr>
            <a:graphicFrameLocks noGrp="1"/>
          </p:cNvGraphicFramePr>
          <p:nvPr/>
        </p:nvGraphicFramePr>
        <p:xfrm>
          <a:off x="1383705" y="982740"/>
          <a:ext cx="9684753" cy="548247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935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Název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Na Zátiší Rakov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ojš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Haus Vacov, s.r.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SC Nechanice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pS Borohrád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ům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Oáza Stars Lužn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České Meziříč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ohoda Dolní Domasla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Tlos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ÚSP Domečky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vězd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00417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Bystř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024544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Frantiskovy Lazne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965078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h Jireh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939119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2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8362536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8608945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o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-centrum Hodonín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řez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035368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ku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93340608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 OAS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2133201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v. Terezie, P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9568470"/>
                  </a:ext>
                </a:extLst>
              </a:tr>
              <a:tr h="21888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y s pečovatelskou službou F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403057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2. – 28. 2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236412"/>
          <a:ext cx="9684753" cy="41809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5698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IZONT - DOZP pro mentálně postižené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Pís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ichov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kolik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Vrou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Krásná Líp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Srdce v dlaních Filip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DD Nácho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a DZR Dřevčický Pa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Třin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ynzvart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alka 2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1878674"/>
                  </a:ext>
                </a:extLst>
              </a:tr>
              <a:tr h="24525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pelska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729393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3. – 17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86199"/>
          <a:ext cx="9684753" cy="542413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508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iscentrum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BETANIE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 v České republice, z. 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P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ncentinum Šumper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 domov Mendry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KM 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PS As 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sle Františka Malíka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hrada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S Litvínov Janov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Bojče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Klad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OSS Liber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Jedov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lad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Libice n. C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omov Arreta 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LUKOV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rajánek Jes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644818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Hroznetin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Mo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é bydlení v Kopřivnici - Domov NaNov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2083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3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Beneš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47135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8. 3. – 31. 3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079D213B-AFD8-441E-95CD-54620E25AEB5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967151"/>
          <a:ext cx="9684753" cy="55473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1668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Datum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 Berounk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Svaté rodiny Příbra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Fénix Horoměř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orní Strop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Čtyřlíst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 sv. Pavla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45130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Staroměstská  České Buděj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3879517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áněná dílna Avízo s.r.o Zli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6210103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Ludgeř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6799159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Hradec nad Moravicí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4088772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a CH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0249849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O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1123486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Brtník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0406262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s pečovatelskou službou Nové Hrad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9460217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Anežky Luštěn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089695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ýdenní stacionář Srbeč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419949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větlo, Drhovl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7347064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 - DSS Chotělice 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0565260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omino Zavidov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0433937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Hostomice - Zátor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6432286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Ústí nad Labem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26192414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Velké Březn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825637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ANIT - domov pro seniory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193873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tarý mlýn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40232789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ď Hermes -CSS Prah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856832181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kal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6954665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P Snědovice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35432856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centrum Píse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459573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klidného stáří Pravětín Vimperk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63975460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řetislavova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15838417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3 S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75201013"/>
                  </a:ext>
                </a:extLst>
              </a:tr>
              <a:tr h="1616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3.2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 Erbenova, Hlinsko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1709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F8AA8311-83CF-40BE-9B08-408DCE2F85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9249595"/>
              </p:ext>
            </p:extLst>
          </p:nvPr>
        </p:nvGraphicFramePr>
        <p:xfrm>
          <a:off x="7361314" y="5543019"/>
          <a:ext cx="4556155" cy="866620"/>
        </p:xfrm>
        <a:graphic>
          <a:graphicData uri="http://schemas.openxmlformats.org/drawingml/2006/table">
            <a:tbl>
              <a:tblPr/>
              <a:tblGrid>
                <a:gridCol w="911231">
                  <a:extLst>
                    <a:ext uri="{9D8B030D-6E8A-4147-A177-3AD203B41FA5}">
                      <a16:colId xmlns:a16="http://schemas.microsoft.com/office/drawing/2014/main" val="302085617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23782520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73601134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1947483592"/>
                    </a:ext>
                  </a:extLst>
                </a:gridCol>
                <a:gridCol w="911231">
                  <a:extLst>
                    <a:ext uri="{9D8B030D-6E8A-4147-A177-3AD203B41FA5}">
                      <a16:colId xmlns:a16="http://schemas.microsoft.com/office/drawing/2014/main" val="3668856520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746649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62946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1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5347409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 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6152088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556501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4. – 31. 8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/>
        </p:nvGraphicFramePr>
        <p:xfrm>
          <a:off x="1372685" y="1026863"/>
          <a:ext cx="9684753" cy="513188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11624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K - 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ychocentrum Domeček Hodon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Tovačov-JA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 Sedlec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ska 3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P Žampac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Emauzy s.r.o Dobrá Voda u Českých Budějovi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máda spásy, Čsl. armády 837/36 bcd, Krnov 794 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iraf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Pá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pro matky s dětmi Zábře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000126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U Pramene Lou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372521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amaritán Ústí nad Lab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0411044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Kobylá nad Vidnavk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0850470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Dobět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9167198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Raspenava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9785268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ylový dům Sára Frýdek-Míste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6917040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P Máchova 14,P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71686775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Chroustov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98555041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 Zahradách Zd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44934424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6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ůchodců Velké Hamry , varianta alf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09912162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stav Ostrava - Zukal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327727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7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eniorů Vlčí Pol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5431879"/>
                  </a:ext>
                </a:extLst>
              </a:tr>
              <a:tr h="20501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8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centrum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vitav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055402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9. – 31. 10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3892388"/>
              </p:ext>
            </p:extLst>
          </p:nvPr>
        </p:nvGraphicFramePr>
        <p:xfrm>
          <a:off x="1372685" y="1026864"/>
          <a:ext cx="9684753" cy="50686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2716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LUHAČOVICE21 Z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Hejnic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mo Chrudim, o.p.s - sociálně terapeutická díl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3, Roháčova 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Hnoj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S Hrabyn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9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Jasm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EN - EZER Český Těš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ITNÍDOMOVHLUK21 UH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Pyše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Zámek Břežan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Kamenec, Slezská Ostra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433767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U Rybníčku Žiž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8954418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Boskovice Mánes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1197993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Šlejnická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2489360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-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2292099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Česká Kame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1747304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 péče Choce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953656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Svaté rodiny Ulrychova Praha 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05830880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říbo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488201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zké domy s.r.o Lovos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2537225"/>
                  </a:ext>
                </a:extLst>
              </a:tr>
              <a:tr h="2200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0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Chrudi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447560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1. – 16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02025"/>
              </p:ext>
            </p:extLst>
          </p:nvPr>
        </p:nvGraphicFramePr>
        <p:xfrm>
          <a:off x="1372685" y="1009673"/>
          <a:ext cx="9684753" cy="523877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0600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0478578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Libeň, Praha 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480291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81006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NA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atie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Tel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IRI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 Zlosy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-komplex Lužec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SC Malá Čermná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omár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rý klíč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180702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Rybalkova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492397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033785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K Prádelně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2817490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Hrází Pe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60267598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Chod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0781992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Semily,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8468394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Sob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5999739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55810615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21889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4549633"/>
                  </a:ext>
                </a:extLst>
              </a:tr>
              <a:tr h="1935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Rey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984974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AB18C71-1867-49C2-8565-4F6CE7E0ED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0537115"/>
              </p:ext>
            </p:extLst>
          </p:nvPr>
        </p:nvGraphicFramePr>
        <p:xfrm>
          <a:off x="8713426" y="911227"/>
          <a:ext cx="849674" cy="5586734"/>
        </p:xfrm>
        <a:graphic>
          <a:graphicData uri="http://schemas.openxmlformats.org/drawingml/2006/table">
            <a:tbl>
              <a:tblPr/>
              <a:tblGrid>
                <a:gridCol w="849674">
                  <a:extLst>
                    <a:ext uri="{9D8B030D-6E8A-4147-A177-3AD203B41FA5}">
                      <a16:colId xmlns:a16="http://schemas.microsoft.com/office/drawing/2014/main" val="4140285373"/>
                    </a:ext>
                  </a:extLst>
                </a:gridCol>
              </a:tblGrid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484843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85168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8376737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3910034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7447542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D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795561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875636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268678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908452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8282222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9621667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7271839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6001786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28152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417810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1784967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7265462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513500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7330948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670275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4277558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1687730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90824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4816243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6450188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026179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3816508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2585025"/>
                  </a:ext>
                </a:extLst>
              </a:tr>
              <a:tr h="19264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2444908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října 2020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9. 3. 2022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0C9FB-2949-4B26-B792-61AF25EF78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5550579"/>
              </p:ext>
            </p:extLst>
          </p:nvPr>
        </p:nvGraphicFramePr>
        <p:xfrm>
          <a:off x="1093233" y="695325"/>
          <a:ext cx="8958646" cy="5802630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21842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6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2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3 4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0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3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5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204550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271889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9737953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6092428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49064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324214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683674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525124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2704925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jmové aktivit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026929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412420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612133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699426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19163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8663673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337081"/>
                  </a:ext>
                </a:extLst>
              </a:tr>
              <a:tr h="1885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týká se žádného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52779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784CBF44-09C1-4104-896C-F04BC12F41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033361"/>
              </p:ext>
            </p:extLst>
          </p:nvPr>
        </p:nvGraphicFramePr>
        <p:xfrm>
          <a:off x="8704851" y="1092199"/>
          <a:ext cx="905873" cy="5424328"/>
        </p:xfrm>
        <a:graphic>
          <a:graphicData uri="http://schemas.openxmlformats.org/drawingml/2006/table">
            <a:tbl>
              <a:tblPr/>
              <a:tblGrid>
                <a:gridCol w="905873">
                  <a:extLst>
                    <a:ext uri="{9D8B030D-6E8A-4147-A177-3AD203B41FA5}">
                      <a16:colId xmlns:a16="http://schemas.microsoft.com/office/drawing/2014/main" val="1283906979"/>
                    </a:ext>
                  </a:extLst>
                </a:gridCol>
              </a:tblGrid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5623029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105255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2667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71332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43978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087458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5602870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094580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045571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1943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506148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975502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7030080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355778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36108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496049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53137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39880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40578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556918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936557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25686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31919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859922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828267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934816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9115248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2982412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ledna 2021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19. 3. 2022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68AE7B0F-05ED-4C12-89D3-29AC69571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0469688"/>
              </p:ext>
            </p:extLst>
          </p:nvPr>
        </p:nvGraphicFramePr>
        <p:xfrm>
          <a:off x="1104900" y="660914"/>
          <a:ext cx="8958646" cy="5856009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43584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109 (2 05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18 (7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060 (6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80 (1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0 749 (1 00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82 (3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35 (84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1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57 (1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75 (11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46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1997362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883259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4915642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4883858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3570336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8371184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0766749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91215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9314247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817810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144375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5281701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21677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6318133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týká se žádného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51448"/>
                  </a:ext>
                </a:extLst>
              </a:tr>
              <a:tr h="19356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61999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71EB03AE-4054-44F7-9254-79404469E2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827552"/>
              </p:ext>
            </p:extLst>
          </p:nvPr>
        </p:nvGraphicFramePr>
        <p:xfrm>
          <a:off x="7362824" y="5543019"/>
          <a:ext cx="4554645" cy="874168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4475726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015643702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137936007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67328475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886359018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569438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178867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2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3791593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4927063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4244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48EACD34-87EE-4F3C-A456-66279421AF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2169350"/>
              </p:ext>
            </p:extLst>
          </p:nvPr>
        </p:nvGraphicFramePr>
        <p:xfrm>
          <a:off x="7349382" y="5543020"/>
          <a:ext cx="4568088" cy="853440"/>
        </p:xfrm>
        <a:graphic>
          <a:graphicData uri="http://schemas.openxmlformats.org/drawingml/2006/table">
            <a:tbl>
              <a:tblPr/>
              <a:tblGrid>
                <a:gridCol w="761348">
                  <a:extLst>
                    <a:ext uri="{9D8B030D-6E8A-4147-A177-3AD203B41FA5}">
                      <a16:colId xmlns:a16="http://schemas.microsoft.com/office/drawing/2014/main" val="188258750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2766418493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1396325399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4103809656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2389849566"/>
                    </a:ext>
                  </a:extLst>
                </a:gridCol>
                <a:gridCol w="761348">
                  <a:extLst>
                    <a:ext uri="{9D8B030D-6E8A-4147-A177-3AD203B41FA5}">
                      <a16:colId xmlns:a16="http://schemas.microsoft.com/office/drawing/2014/main" val="14063261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2026830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76604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645716"/>
              </p:ext>
            </p:extLst>
          </p:nvPr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 (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5063582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2 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6195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4198634-9DE1-4ABE-ABE2-EBA382E34C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918609"/>
              </p:ext>
            </p:extLst>
          </p:nvPr>
        </p:nvGraphicFramePr>
        <p:xfrm>
          <a:off x="7362822" y="5556199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41532877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371503168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58226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822866413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66910644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82100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CD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341038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2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FC5EFE55-EE2D-476E-94E8-91E4F58258C1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</a:t>
            </a:r>
            <a:endParaRPr lang="cs-CZ" sz="1200" b="1" dirty="0">
              <a:solidFill>
                <a:srgbClr val="C00000"/>
              </a:solidFill>
            </a:endParaRP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2CB9E723-90D4-4DF3-A4C1-04A567932C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6409362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4 (2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6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69D9846B-2D40-4943-BE29-D639CD1CAD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1278339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Obdélník 13">
            <a:extLst>
              <a:ext uri="{FF2B5EF4-FFF2-40B4-BE49-F238E27FC236}">
                <a16:creationId xmlns:a16="http://schemas.microsoft.com/office/drawing/2014/main" id="{06C48139-6AD8-42FC-87EB-B78B92AFE7B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1" name="Tabulka 14">
            <a:extLst>
              <a:ext uri="{FF2B5EF4-FFF2-40B4-BE49-F238E27FC236}">
                <a16:creationId xmlns:a16="http://schemas.microsoft.com/office/drawing/2014/main" id="{3F51155A-4EFC-474B-BC5A-8553005EE892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66371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  <p:tag name="SLIDEFAB_RESIZEMOD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8885</TotalTime>
  <Words>17366</Words>
  <Application>Microsoft Office PowerPoint</Application>
  <PresentationFormat>Širokoúhlá obrazovka</PresentationFormat>
  <Paragraphs>7420</Paragraphs>
  <Slides>64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64</vt:i4>
      </vt:variant>
    </vt:vector>
  </HeadingPairs>
  <TitlesOfParts>
    <vt:vector size="68" baseType="lpstr">
      <vt:lpstr>Arial</vt:lpstr>
      <vt:lpstr>Calibri</vt:lpstr>
      <vt:lpstr>Roboto</vt:lpstr>
      <vt:lpstr>Motiv Office</vt:lpstr>
      <vt:lpstr>Datová a informační základna  pro management pandemie COVID-19</vt:lpstr>
      <vt:lpstr>Úvod – zdroje dat a koncepce analýz </vt:lpstr>
      <vt:lpstr>Prezentace aplikace PowerPoint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Datová a informační základna  pro management pandemie COVID-19</vt:lpstr>
      <vt:lpstr>Prezentace aplikace PowerPoint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Počet nově pozitivních klientů v sociálních službách</vt:lpstr>
      <vt:lpstr>Počet nově pozitivních pracovníků v sociálních službách</vt:lpstr>
      <vt:lpstr>Počet nově pozitivních osob v sociálních službách</vt:lpstr>
      <vt:lpstr>Počet nově pozitivních pracovníků a klientů v sociálních službách</vt:lpstr>
      <vt:lpstr>Počet zemřelých klientů v sociálních službách</vt:lpstr>
      <vt:lpstr>Počet zemřelých klientů a pracovníků v sociálních službách</vt:lpstr>
      <vt:lpstr>Klienti a pracovníci v sociálních službách vyžadující hospitalizaci z důvodu COVID-19</vt:lpstr>
      <vt:lpstr>Klienti a pracovníci v sociálních službách s těžkým průběhem nemoci</vt:lpstr>
      <vt:lpstr>Datová a informační základna  pro management pandemie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Události řešené od 1. října 2020 – celá ČR</vt:lpstr>
      <vt:lpstr>Události řešené od 1. ledna 2021 – celá Č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užík Jan RNDr. Ph.D.</cp:lastModifiedBy>
  <cp:revision>644</cp:revision>
  <dcterms:created xsi:type="dcterms:W3CDTF">2020-11-14T10:09:00Z</dcterms:created>
  <dcterms:modified xsi:type="dcterms:W3CDTF">2022-03-19T20:13:55Z</dcterms:modified>
</cp:coreProperties>
</file>